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2.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13.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14.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15.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16.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17.xml" ContentType="application/vnd.openxmlformats-officedocument.presentationml.notesSlide+xml"/>
  <Override PartName="/ppt/tags/tag6.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4874" r:id="rId2"/>
    <p:sldMasterId id="2147484924" r:id="rId3"/>
    <p:sldMasterId id="2147484927" r:id="rId4"/>
    <p:sldMasterId id="2147484935" r:id="rId5"/>
  </p:sldMasterIdLst>
  <p:notesMasterIdLst>
    <p:notesMasterId r:id="rId27"/>
  </p:notesMasterIdLst>
  <p:sldIdLst>
    <p:sldId id="2103813174" r:id="rId6"/>
    <p:sldId id="2103813334" r:id="rId7"/>
    <p:sldId id="2103813336" r:id="rId8"/>
    <p:sldId id="2103813184" r:id="rId9"/>
    <p:sldId id="2147470502" r:id="rId10"/>
    <p:sldId id="2147470503" r:id="rId11"/>
    <p:sldId id="2147470501" r:id="rId12"/>
    <p:sldId id="2147470504" r:id="rId13"/>
    <p:sldId id="2103813183" r:id="rId14"/>
    <p:sldId id="2147470514" r:id="rId15"/>
    <p:sldId id="10924" r:id="rId16"/>
    <p:sldId id="10928" r:id="rId17"/>
    <p:sldId id="2147470515" r:id="rId18"/>
    <p:sldId id="2147470516" r:id="rId19"/>
    <p:sldId id="2147470521" r:id="rId20"/>
    <p:sldId id="2147470519" r:id="rId21"/>
    <p:sldId id="2147470518" r:id="rId22"/>
    <p:sldId id="2147470492" r:id="rId23"/>
    <p:sldId id="530" r:id="rId24"/>
    <p:sldId id="2147470508" r:id="rId25"/>
    <p:sldId id="1343"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A3EEF68-2F3E-4231-99A4-7476283206D3}">
          <p14:sldIdLst>
            <p14:sldId id="2103813174"/>
            <p14:sldId id="2103813334"/>
            <p14:sldId id="2103813336"/>
          </p14:sldIdLst>
        </p14:section>
        <p14:section name="Intelligent Query Processing" id="{1288A27A-E649-41A1-B18E-66EA8061F488}">
          <p14:sldIdLst>
            <p14:sldId id="2103813184"/>
            <p14:sldId id="2147470502"/>
            <p14:sldId id="2147470503"/>
            <p14:sldId id="2147470501"/>
            <p14:sldId id="2147470504"/>
            <p14:sldId id="2103813183"/>
            <p14:sldId id="2147470514"/>
            <p14:sldId id="10924"/>
            <p14:sldId id="10928"/>
            <p14:sldId id="2147470515"/>
            <p14:sldId id="2147470516"/>
            <p14:sldId id="2147470521"/>
            <p14:sldId id="2147470519"/>
            <p14:sldId id="2147470518"/>
            <p14:sldId id="2147470492"/>
          </p14:sldIdLst>
        </p14:section>
        <p14:section name="Summary" id="{52C421DB-3256-4659-B3CF-5363399828F3}">
          <p14:sldIdLst>
            <p14:sldId id="530"/>
            <p14:sldId id="2147470508"/>
            <p14:sldId id="13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08000"/>
    <a:srgbClr val="75C3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846" autoAdjust="0"/>
    <p:restoredTop sz="71969" autoAdjust="0"/>
  </p:normalViewPr>
  <p:slideViewPr>
    <p:cSldViewPr snapToGrid="0">
      <p:cViewPr varScale="1">
        <p:scale>
          <a:sx n="60" d="100"/>
          <a:sy n="60" d="100"/>
        </p:scale>
        <p:origin x="718" y="34"/>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5" d="100"/>
          <a:sy n="65" d="100"/>
        </p:scale>
        <p:origin x="315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EB11C7-8E35-496E-8BBA-B5FE5C2DA876}" type="doc">
      <dgm:prSet loTypeId="urn:microsoft.com/office/officeart/2005/8/layout/vList2" loCatId="list" qsTypeId="urn:microsoft.com/office/officeart/2005/8/quickstyle/simple4" qsCatId="simple" csTypeId="urn:microsoft.com/office/officeart/2005/8/colors/colorful2" csCatId="colorful" phldr="1"/>
      <dgm:spPr/>
      <dgm:t>
        <a:bodyPr/>
        <a:lstStyle/>
        <a:p>
          <a:endParaRPr lang="en-US"/>
        </a:p>
      </dgm:t>
    </dgm:pt>
    <dgm:pt modelId="{06B0F420-A2DD-4C38-8943-E47A75976368}">
      <dgm:prSet custT="1"/>
      <dgm:spPr/>
      <dgm:t>
        <a:bodyPr/>
        <a:lstStyle/>
        <a:p>
          <a:r>
            <a:rPr lang="en-US" sz="2400" b="1" dirty="0"/>
            <a:t>An Overview of Intelligent Query Processing?</a:t>
          </a:r>
        </a:p>
      </dgm:t>
    </dgm:pt>
    <dgm:pt modelId="{DDA18201-CAF4-4AF1-9209-D0B1EDB8C3BE}" type="parTrans" cxnId="{3FA7F744-0946-4746-A94D-B3B0F3AB4289}">
      <dgm:prSet/>
      <dgm:spPr/>
      <dgm:t>
        <a:bodyPr/>
        <a:lstStyle/>
        <a:p>
          <a:endParaRPr lang="en-US"/>
        </a:p>
      </dgm:t>
    </dgm:pt>
    <dgm:pt modelId="{48F85F08-174A-488C-AB7D-4915668FD800}" type="sibTrans" cxnId="{3FA7F744-0946-4746-A94D-B3B0F3AB4289}">
      <dgm:prSet/>
      <dgm:spPr/>
      <dgm:t>
        <a:bodyPr/>
        <a:lstStyle/>
        <a:p>
          <a:endParaRPr lang="en-US"/>
        </a:p>
      </dgm:t>
    </dgm:pt>
    <dgm:pt modelId="{48208E93-0ED2-4783-A420-DF569AB92630}">
      <dgm:prSet custT="1"/>
      <dgm:spPr/>
      <dgm:t>
        <a:bodyPr/>
        <a:lstStyle/>
        <a:p>
          <a:r>
            <a:rPr lang="en-US" sz="2400" b="1" dirty="0"/>
            <a:t>Enabling and Disabling Features</a:t>
          </a:r>
        </a:p>
      </dgm:t>
    </dgm:pt>
    <dgm:pt modelId="{7A75F61A-27C1-4581-933A-59EBB710BD5D}" type="parTrans" cxnId="{712E8F45-742F-4A07-8BBB-568F5A2EC5E9}">
      <dgm:prSet/>
      <dgm:spPr/>
      <dgm:t>
        <a:bodyPr/>
        <a:lstStyle/>
        <a:p>
          <a:endParaRPr lang="en-US"/>
        </a:p>
      </dgm:t>
    </dgm:pt>
    <dgm:pt modelId="{62759427-9436-43B2-BD24-3EAC37DD7971}" type="sibTrans" cxnId="{712E8F45-742F-4A07-8BBB-568F5A2EC5E9}">
      <dgm:prSet/>
      <dgm:spPr/>
      <dgm:t>
        <a:bodyPr/>
        <a:lstStyle/>
        <a:p>
          <a:endParaRPr lang="en-US"/>
        </a:p>
      </dgm:t>
    </dgm:pt>
    <dgm:pt modelId="{E5E3AD40-E290-4C16-8160-786E2DBC32AA}">
      <dgm:prSet custT="1"/>
      <dgm:spPr/>
      <dgm:t>
        <a:bodyPr/>
        <a:lstStyle/>
        <a:p>
          <a:r>
            <a:rPr lang="en-US" sz="2400" b="1" dirty="0"/>
            <a:t>What is Parameter Sensitive Plan Optimization?</a:t>
          </a:r>
        </a:p>
      </dgm:t>
    </dgm:pt>
    <dgm:pt modelId="{A1B78B65-ECEB-4F48-A41A-F10C8544569E}" type="parTrans" cxnId="{7F8EB2E6-0AE4-4E94-B6D5-58320CAC2AF2}">
      <dgm:prSet/>
      <dgm:spPr/>
      <dgm:t>
        <a:bodyPr/>
        <a:lstStyle/>
        <a:p>
          <a:endParaRPr lang="en-US"/>
        </a:p>
      </dgm:t>
    </dgm:pt>
    <dgm:pt modelId="{34468533-9F93-4C2B-8481-66F40E039091}" type="sibTrans" cxnId="{7F8EB2E6-0AE4-4E94-B6D5-58320CAC2AF2}">
      <dgm:prSet/>
      <dgm:spPr/>
      <dgm:t>
        <a:bodyPr/>
        <a:lstStyle/>
        <a:p>
          <a:endParaRPr lang="en-US"/>
        </a:p>
      </dgm:t>
    </dgm:pt>
    <dgm:pt modelId="{AA049B1A-43DA-402A-9514-2D578C105233}">
      <dgm:prSet custT="1"/>
      <dgm:spPr/>
      <dgm:t>
        <a:bodyPr/>
        <a:lstStyle/>
        <a:p>
          <a:r>
            <a:rPr lang="en-US" sz="2400" b="1" dirty="0"/>
            <a:t>Demonstration</a:t>
          </a:r>
        </a:p>
      </dgm:t>
    </dgm:pt>
    <dgm:pt modelId="{FD00A25E-8D8E-4853-AEB6-E54142981A0E}" type="parTrans" cxnId="{63DCEBD1-2190-4EA8-AE39-69444BC52ECD}">
      <dgm:prSet/>
      <dgm:spPr/>
      <dgm:t>
        <a:bodyPr/>
        <a:lstStyle/>
        <a:p>
          <a:endParaRPr lang="en-US"/>
        </a:p>
      </dgm:t>
    </dgm:pt>
    <dgm:pt modelId="{BABF57AF-C501-4543-9DD0-9E768BF2DE5A}" type="sibTrans" cxnId="{63DCEBD1-2190-4EA8-AE39-69444BC52ECD}">
      <dgm:prSet/>
      <dgm:spPr/>
      <dgm:t>
        <a:bodyPr/>
        <a:lstStyle/>
        <a:p>
          <a:endParaRPr lang="en-US"/>
        </a:p>
      </dgm:t>
    </dgm:pt>
    <dgm:pt modelId="{811B5D52-89C6-4ADA-98E4-5D00A32367D3}" type="pres">
      <dgm:prSet presAssocID="{86EB11C7-8E35-496E-8BBA-B5FE5C2DA876}" presName="linear" presStyleCnt="0">
        <dgm:presLayoutVars>
          <dgm:animLvl val="lvl"/>
          <dgm:resizeHandles val="exact"/>
        </dgm:presLayoutVars>
      </dgm:prSet>
      <dgm:spPr/>
    </dgm:pt>
    <dgm:pt modelId="{92FF7EA9-1E01-4FFE-84FF-2108C119A703}" type="pres">
      <dgm:prSet presAssocID="{06B0F420-A2DD-4C38-8943-E47A75976368}" presName="parentText" presStyleLbl="node1" presStyleIdx="0" presStyleCnt="4">
        <dgm:presLayoutVars>
          <dgm:chMax val="0"/>
          <dgm:bulletEnabled val="1"/>
        </dgm:presLayoutVars>
      </dgm:prSet>
      <dgm:spPr/>
    </dgm:pt>
    <dgm:pt modelId="{FF3568EE-C689-41FB-AF6A-7DDE495F3BDC}" type="pres">
      <dgm:prSet presAssocID="{48F85F08-174A-488C-AB7D-4915668FD800}" presName="spacer" presStyleCnt="0"/>
      <dgm:spPr/>
    </dgm:pt>
    <dgm:pt modelId="{B3FF4F94-AFF8-45A0-8726-E9EEAE2647AC}" type="pres">
      <dgm:prSet presAssocID="{48208E93-0ED2-4783-A420-DF569AB92630}" presName="parentText" presStyleLbl="node1" presStyleIdx="1" presStyleCnt="4">
        <dgm:presLayoutVars>
          <dgm:chMax val="0"/>
          <dgm:bulletEnabled val="1"/>
        </dgm:presLayoutVars>
      </dgm:prSet>
      <dgm:spPr/>
    </dgm:pt>
    <dgm:pt modelId="{7B4EECE6-C2D4-49CA-8358-19E0AD11F8BD}" type="pres">
      <dgm:prSet presAssocID="{62759427-9436-43B2-BD24-3EAC37DD7971}" presName="spacer" presStyleCnt="0"/>
      <dgm:spPr/>
    </dgm:pt>
    <dgm:pt modelId="{6FA26E25-59B6-46AF-B682-722BA7826235}" type="pres">
      <dgm:prSet presAssocID="{E5E3AD40-E290-4C16-8160-786E2DBC32AA}" presName="parentText" presStyleLbl="node1" presStyleIdx="2" presStyleCnt="4">
        <dgm:presLayoutVars>
          <dgm:chMax val="0"/>
          <dgm:bulletEnabled val="1"/>
        </dgm:presLayoutVars>
      </dgm:prSet>
      <dgm:spPr/>
    </dgm:pt>
    <dgm:pt modelId="{72C243B8-BA8B-4729-B82E-4B3F84C7F811}" type="pres">
      <dgm:prSet presAssocID="{34468533-9F93-4C2B-8481-66F40E039091}" presName="spacer" presStyleCnt="0"/>
      <dgm:spPr/>
    </dgm:pt>
    <dgm:pt modelId="{06A6BAF2-CEC0-49FA-AEC5-EA456C95C9BB}" type="pres">
      <dgm:prSet presAssocID="{AA049B1A-43DA-402A-9514-2D578C105233}" presName="parentText" presStyleLbl="node1" presStyleIdx="3" presStyleCnt="4">
        <dgm:presLayoutVars>
          <dgm:chMax val="0"/>
          <dgm:bulletEnabled val="1"/>
        </dgm:presLayoutVars>
      </dgm:prSet>
      <dgm:spPr/>
    </dgm:pt>
  </dgm:ptLst>
  <dgm:cxnLst>
    <dgm:cxn modelId="{51311304-619B-4893-BC52-86905EE054A5}" type="presOf" srcId="{86EB11C7-8E35-496E-8BBA-B5FE5C2DA876}" destId="{811B5D52-89C6-4ADA-98E4-5D00A32367D3}" srcOrd="0" destOrd="0" presId="urn:microsoft.com/office/officeart/2005/8/layout/vList2"/>
    <dgm:cxn modelId="{41472C2F-6A57-4A58-BBBA-4622B7D71CEF}" type="presOf" srcId="{AA049B1A-43DA-402A-9514-2D578C105233}" destId="{06A6BAF2-CEC0-49FA-AEC5-EA456C95C9BB}" srcOrd="0" destOrd="0" presId="urn:microsoft.com/office/officeart/2005/8/layout/vList2"/>
    <dgm:cxn modelId="{3FA7F744-0946-4746-A94D-B3B0F3AB4289}" srcId="{86EB11C7-8E35-496E-8BBA-B5FE5C2DA876}" destId="{06B0F420-A2DD-4C38-8943-E47A75976368}" srcOrd="0" destOrd="0" parTransId="{DDA18201-CAF4-4AF1-9209-D0B1EDB8C3BE}" sibTransId="{48F85F08-174A-488C-AB7D-4915668FD800}"/>
    <dgm:cxn modelId="{712E8F45-742F-4A07-8BBB-568F5A2EC5E9}" srcId="{86EB11C7-8E35-496E-8BBA-B5FE5C2DA876}" destId="{48208E93-0ED2-4783-A420-DF569AB92630}" srcOrd="1" destOrd="0" parTransId="{7A75F61A-27C1-4581-933A-59EBB710BD5D}" sibTransId="{62759427-9436-43B2-BD24-3EAC37DD7971}"/>
    <dgm:cxn modelId="{03E964A4-0096-48A5-B6DA-58241C03B623}" type="presOf" srcId="{06B0F420-A2DD-4C38-8943-E47A75976368}" destId="{92FF7EA9-1E01-4FFE-84FF-2108C119A703}" srcOrd="0" destOrd="0" presId="urn:microsoft.com/office/officeart/2005/8/layout/vList2"/>
    <dgm:cxn modelId="{9EC2D7A4-A5CD-4793-9678-A0B7FBC8904D}" type="presOf" srcId="{48208E93-0ED2-4783-A420-DF569AB92630}" destId="{B3FF4F94-AFF8-45A0-8726-E9EEAE2647AC}" srcOrd="0" destOrd="0" presId="urn:microsoft.com/office/officeart/2005/8/layout/vList2"/>
    <dgm:cxn modelId="{63DCEBD1-2190-4EA8-AE39-69444BC52ECD}" srcId="{86EB11C7-8E35-496E-8BBA-B5FE5C2DA876}" destId="{AA049B1A-43DA-402A-9514-2D578C105233}" srcOrd="3" destOrd="0" parTransId="{FD00A25E-8D8E-4853-AEB6-E54142981A0E}" sibTransId="{BABF57AF-C501-4543-9DD0-9E768BF2DE5A}"/>
    <dgm:cxn modelId="{7F8EB2E6-0AE4-4E94-B6D5-58320CAC2AF2}" srcId="{86EB11C7-8E35-496E-8BBA-B5FE5C2DA876}" destId="{E5E3AD40-E290-4C16-8160-786E2DBC32AA}" srcOrd="2" destOrd="0" parTransId="{A1B78B65-ECEB-4F48-A41A-F10C8544569E}" sibTransId="{34468533-9F93-4C2B-8481-66F40E039091}"/>
    <dgm:cxn modelId="{7A39F4ED-603C-4713-B10C-96DD84DD4CDE}" type="presOf" srcId="{E5E3AD40-E290-4C16-8160-786E2DBC32AA}" destId="{6FA26E25-59B6-46AF-B682-722BA7826235}" srcOrd="0" destOrd="0" presId="urn:microsoft.com/office/officeart/2005/8/layout/vList2"/>
    <dgm:cxn modelId="{946C2483-4797-4E96-8183-ADBCBD641362}" type="presParOf" srcId="{811B5D52-89C6-4ADA-98E4-5D00A32367D3}" destId="{92FF7EA9-1E01-4FFE-84FF-2108C119A703}" srcOrd="0" destOrd="0" presId="urn:microsoft.com/office/officeart/2005/8/layout/vList2"/>
    <dgm:cxn modelId="{11EC5E8C-DEE8-4234-AE9B-C0E08CDA4F79}" type="presParOf" srcId="{811B5D52-89C6-4ADA-98E4-5D00A32367D3}" destId="{FF3568EE-C689-41FB-AF6A-7DDE495F3BDC}" srcOrd="1" destOrd="0" presId="urn:microsoft.com/office/officeart/2005/8/layout/vList2"/>
    <dgm:cxn modelId="{A6A248A1-7ED4-4216-AD08-F578FEDC6761}" type="presParOf" srcId="{811B5D52-89C6-4ADA-98E4-5D00A32367D3}" destId="{B3FF4F94-AFF8-45A0-8726-E9EEAE2647AC}" srcOrd="2" destOrd="0" presId="urn:microsoft.com/office/officeart/2005/8/layout/vList2"/>
    <dgm:cxn modelId="{C97B5B91-8A2C-426E-84FF-C1954007E90B}" type="presParOf" srcId="{811B5D52-89C6-4ADA-98E4-5D00A32367D3}" destId="{7B4EECE6-C2D4-49CA-8358-19E0AD11F8BD}" srcOrd="3" destOrd="0" presId="urn:microsoft.com/office/officeart/2005/8/layout/vList2"/>
    <dgm:cxn modelId="{92E44A09-7106-4A66-86AF-FF274911466F}" type="presParOf" srcId="{811B5D52-89C6-4ADA-98E4-5D00A32367D3}" destId="{6FA26E25-59B6-46AF-B682-722BA7826235}" srcOrd="4" destOrd="0" presId="urn:microsoft.com/office/officeart/2005/8/layout/vList2"/>
    <dgm:cxn modelId="{50963EC7-27A1-4646-9134-0BCCA4663F69}" type="presParOf" srcId="{811B5D52-89C6-4ADA-98E4-5D00A32367D3}" destId="{72C243B8-BA8B-4729-B82E-4B3F84C7F811}" srcOrd="5" destOrd="0" presId="urn:microsoft.com/office/officeart/2005/8/layout/vList2"/>
    <dgm:cxn modelId="{9775F1BC-C0B7-473F-9F1F-0FC427280EB7}" type="presParOf" srcId="{811B5D52-89C6-4ADA-98E4-5D00A32367D3}" destId="{06A6BAF2-CEC0-49FA-AEC5-EA456C95C9BB}"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CAC6E89-8D61-41CE-B485-D446E81BC557}" type="doc">
      <dgm:prSet loTypeId="urn:microsoft.com/office/officeart/2005/8/layout/vList2" loCatId="list" qsTypeId="urn:microsoft.com/office/officeart/2005/8/quickstyle/simple1" qsCatId="simple" csTypeId="urn:microsoft.com/office/officeart/2005/8/colors/colorful4" csCatId="colorful" phldr="1"/>
      <dgm:spPr/>
      <dgm:t>
        <a:bodyPr/>
        <a:lstStyle/>
        <a:p>
          <a:endParaRPr lang="en-US"/>
        </a:p>
      </dgm:t>
    </dgm:pt>
    <dgm:pt modelId="{22CEDA83-D5A0-48DB-8163-E40BFC900E3A}">
      <dgm:prSet/>
      <dgm:spPr/>
      <dgm:t>
        <a:bodyPr/>
        <a:lstStyle/>
        <a:p>
          <a:r>
            <a:rPr lang="en-US" dirty="0"/>
            <a:t>Too many plans generated could create cache bloat, so limit # of plans in cache</a:t>
          </a:r>
        </a:p>
      </dgm:t>
    </dgm:pt>
    <dgm:pt modelId="{FFA84FBB-5C0E-4271-ADEC-F93B38D5AC82}" type="parTrans" cxnId="{9E49E00B-EE5E-46BC-A929-4110C97F26F0}">
      <dgm:prSet/>
      <dgm:spPr/>
      <dgm:t>
        <a:bodyPr/>
        <a:lstStyle/>
        <a:p>
          <a:endParaRPr lang="en-US"/>
        </a:p>
      </dgm:t>
    </dgm:pt>
    <dgm:pt modelId="{641045D7-E9BC-4DA4-8321-010DF4C62CB0}" type="sibTrans" cxnId="{9E49E00B-EE5E-46BC-A929-4110C97F26F0}">
      <dgm:prSet/>
      <dgm:spPr/>
      <dgm:t>
        <a:bodyPr/>
        <a:lstStyle/>
        <a:p>
          <a:endParaRPr lang="en-US"/>
        </a:p>
      </dgm:t>
    </dgm:pt>
    <dgm:pt modelId="{4E045BB2-63F7-4DA4-88B4-A8C927B884A3}">
      <dgm:prSet/>
      <dgm:spPr/>
      <dgm:t>
        <a:bodyPr/>
        <a:lstStyle/>
        <a:p>
          <a:r>
            <a:rPr lang="en-US" dirty="0"/>
            <a:t>Automatically enables </a:t>
          </a:r>
          <a:r>
            <a:rPr lang="en-US" u="none" dirty="0"/>
            <a:t>multiple, active </a:t>
          </a:r>
          <a:r>
            <a:rPr lang="en-US" dirty="0"/>
            <a:t>cached plans for a single parameterized statement</a:t>
          </a:r>
        </a:p>
      </dgm:t>
    </dgm:pt>
    <dgm:pt modelId="{129C0E1A-0AE7-41B1-A837-DC59CD4AF189}" type="parTrans" cxnId="{F97D9C96-F0EB-4244-9AF6-16645DA9715D}">
      <dgm:prSet/>
      <dgm:spPr/>
      <dgm:t>
        <a:bodyPr/>
        <a:lstStyle/>
        <a:p>
          <a:endParaRPr lang="en-US"/>
        </a:p>
      </dgm:t>
    </dgm:pt>
    <dgm:pt modelId="{B30E668D-F2B1-4184-B260-F1D6EE3B2B96}" type="sibTrans" cxnId="{F97D9C96-F0EB-4244-9AF6-16645DA9715D}">
      <dgm:prSet/>
      <dgm:spPr/>
      <dgm:t>
        <a:bodyPr/>
        <a:lstStyle/>
        <a:p>
          <a:endParaRPr lang="en-US"/>
        </a:p>
      </dgm:t>
    </dgm:pt>
    <dgm:pt modelId="{45F22626-D450-421C-A612-BA0F097ADBB1}">
      <dgm:prSet/>
      <dgm:spPr/>
      <dgm:t>
        <a:bodyPr/>
        <a:lstStyle/>
        <a:p>
          <a:r>
            <a:rPr lang="en-US" dirty="0"/>
            <a:t>Cached execution plans will accommodate different data sizes based on the customer-provided runtime parameter value(s)</a:t>
          </a:r>
        </a:p>
      </dgm:t>
    </dgm:pt>
    <dgm:pt modelId="{F90B12C8-D7C3-4413-900E-D1FD6CEBE301}" type="parTrans" cxnId="{43464EAA-0564-4781-B7D6-8BFF430F5D57}">
      <dgm:prSet/>
      <dgm:spPr/>
      <dgm:t>
        <a:bodyPr/>
        <a:lstStyle/>
        <a:p>
          <a:endParaRPr lang="en-US"/>
        </a:p>
      </dgm:t>
    </dgm:pt>
    <dgm:pt modelId="{18681B9E-B438-47C6-942B-C78E8AE2FEB5}" type="sibTrans" cxnId="{43464EAA-0564-4781-B7D6-8BFF430F5D57}">
      <dgm:prSet/>
      <dgm:spPr/>
      <dgm:t>
        <a:bodyPr/>
        <a:lstStyle/>
        <a:p>
          <a:endParaRPr lang="en-US"/>
        </a:p>
      </dgm:t>
    </dgm:pt>
    <dgm:pt modelId="{ACAAE0B2-0937-44FB-B5FE-AC045288E04A}">
      <dgm:prSet/>
      <dgm:spPr/>
      <dgm:t>
        <a:bodyPr/>
        <a:lstStyle/>
        <a:p>
          <a:pPr>
            <a:buNone/>
          </a:pPr>
          <a:r>
            <a:rPr lang="en-US" dirty="0"/>
            <a:t>Design considerations</a:t>
          </a:r>
        </a:p>
      </dgm:t>
    </dgm:pt>
    <dgm:pt modelId="{6411EE85-D37B-4436-8480-87B3766C20F3}" type="parTrans" cxnId="{217E1EBD-8479-439E-8DEB-D7CFB5A7895E}">
      <dgm:prSet/>
      <dgm:spPr/>
      <dgm:t>
        <a:bodyPr/>
        <a:lstStyle/>
        <a:p>
          <a:endParaRPr lang="en-US"/>
        </a:p>
      </dgm:t>
    </dgm:pt>
    <dgm:pt modelId="{1DD20117-8A2D-4729-AC22-39B059DF0BEE}" type="sibTrans" cxnId="{217E1EBD-8479-439E-8DEB-D7CFB5A7895E}">
      <dgm:prSet/>
      <dgm:spPr/>
      <dgm:t>
        <a:bodyPr/>
        <a:lstStyle/>
        <a:p>
          <a:endParaRPr lang="en-US"/>
        </a:p>
      </dgm:t>
    </dgm:pt>
    <dgm:pt modelId="{4698D926-E9FC-473E-A199-116788C3DAD5}">
      <dgm:prSet/>
      <dgm:spPr/>
      <dgm:t>
        <a:bodyPr/>
        <a:lstStyle/>
        <a:p>
          <a:r>
            <a:rPr lang="en-US"/>
            <a:t>Overhead of PSP optimization must not outweigh downstream benefit</a:t>
          </a:r>
          <a:endParaRPr lang="en-US" dirty="0"/>
        </a:p>
      </dgm:t>
    </dgm:pt>
    <dgm:pt modelId="{8118A63B-FCA9-462A-A61B-1C76B454E7E4}" type="parTrans" cxnId="{D338C2D1-E535-47F4-BD37-041624F8E7CF}">
      <dgm:prSet/>
      <dgm:spPr/>
      <dgm:t>
        <a:bodyPr/>
        <a:lstStyle/>
        <a:p>
          <a:endParaRPr lang="en-US"/>
        </a:p>
      </dgm:t>
    </dgm:pt>
    <dgm:pt modelId="{97D15FA7-2993-435D-B218-1D0DB1E1821A}" type="sibTrans" cxnId="{D338C2D1-E535-47F4-BD37-041624F8E7CF}">
      <dgm:prSet/>
      <dgm:spPr/>
      <dgm:t>
        <a:bodyPr/>
        <a:lstStyle/>
        <a:p>
          <a:endParaRPr lang="en-US"/>
        </a:p>
      </dgm:t>
    </dgm:pt>
    <dgm:pt modelId="{6E8A5037-9B71-4A75-8A9B-617673E9E56E}">
      <dgm:prSet/>
      <dgm:spPr/>
      <dgm:t>
        <a:bodyPr/>
        <a:lstStyle/>
        <a:p>
          <a:r>
            <a:rPr lang="en-US"/>
            <a:t>Compatible with Query Store plan forcing</a:t>
          </a:r>
          <a:endParaRPr lang="en-US" dirty="0"/>
        </a:p>
      </dgm:t>
    </dgm:pt>
    <dgm:pt modelId="{85B385CF-F739-4791-9C26-9381F1E153A9}" type="parTrans" cxnId="{A6A93FD3-A4AB-42BF-9F8C-DAF998B48B2C}">
      <dgm:prSet/>
      <dgm:spPr/>
      <dgm:t>
        <a:bodyPr/>
        <a:lstStyle/>
        <a:p>
          <a:endParaRPr lang="en-US"/>
        </a:p>
      </dgm:t>
    </dgm:pt>
    <dgm:pt modelId="{0889D297-3370-4C46-8EBF-0F17AFDB9037}" type="sibTrans" cxnId="{A6A93FD3-A4AB-42BF-9F8C-DAF998B48B2C}">
      <dgm:prSet/>
      <dgm:spPr/>
      <dgm:t>
        <a:bodyPr/>
        <a:lstStyle/>
        <a:p>
          <a:endParaRPr lang="en-US"/>
        </a:p>
      </dgm:t>
    </dgm:pt>
    <dgm:pt modelId="{7A91A4FC-4ED9-41B2-9B83-09BE415FCECF}" type="pres">
      <dgm:prSet presAssocID="{5CAC6E89-8D61-41CE-B485-D446E81BC557}" presName="linear" presStyleCnt="0">
        <dgm:presLayoutVars>
          <dgm:animLvl val="lvl"/>
          <dgm:resizeHandles val="exact"/>
        </dgm:presLayoutVars>
      </dgm:prSet>
      <dgm:spPr/>
    </dgm:pt>
    <dgm:pt modelId="{4364C633-99A8-442F-AB7B-98CC9B35593A}" type="pres">
      <dgm:prSet presAssocID="{4E045BB2-63F7-4DA4-88B4-A8C927B884A3}" presName="parentText" presStyleLbl="node1" presStyleIdx="0" presStyleCnt="3">
        <dgm:presLayoutVars>
          <dgm:chMax val="0"/>
          <dgm:bulletEnabled val="1"/>
        </dgm:presLayoutVars>
      </dgm:prSet>
      <dgm:spPr/>
    </dgm:pt>
    <dgm:pt modelId="{F9EDBD90-9011-4E62-9E36-F388ABABDF42}" type="pres">
      <dgm:prSet presAssocID="{B30E668D-F2B1-4184-B260-F1D6EE3B2B96}" presName="spacer" presStyleCnt="0"/>
      <dgm:spPr/>
    </dgm:pt>
    <dgm:pt modelId="{709EF244-9908-42D8-B846-1F5AE2BBD0F8}" type="pres">
      <dgm:prSet presAssocID="{45F22626-D450-421C-A612-BA0F097ADBB1}" presName="parentText" presStyleLbl="node1" presStyleIdx="1" presStyleCnt="3">
        <dgm:presLayoutVars>
          <dgm:chMax val="0"/>
          <dgm:bulletEnabled val="1"/>
        </dgm:presLayoutVars>
      </dgm:prSet>
      <dgm:spPr/>
    </dgm:pt>
    <dgm:pt modelId="{F40828B5-81DB-46E2-8DB9-E67358A03CCD}" type="pres">
      <dgm:prSet presAssocID="{18681B9E-B438-47C6-942B-C78E8AE2FEB5}" presName="spacer" presStyleCnt="0"/>
      <dgm:spPr/>
    </dgm:pt>
    <dgm:pt modelId="{BD69AF70-FDD3-4F65-B044-186A952BCA3E}" type="pres">
      <dgm:prSet presAssocID="{ACAAE0B2-0937-44FB-B5FE-AC045288E04A}" presName="parentText" presStyleLbl="node1" presStyleIdx="2" presStyleCnt="3">
        <dgm:presLayoutVars>
          <dgm:chMax val="0"/>
          <dgm:bulletEnabled val="1"/>
        </dgm:presLayoutVars>
      </dgm:prSet>
      <dgm:spPr/>
    </dgm:pt>
    <dgm:pt modelId="{6607D736-F936-4CC9-A85F-F24CE4EC548D}" type="pres">
      <dgm:prSet presAssocID="{ACAAE0B2-0937-44FB-B5FE-AC045288E04A}" presName="childText" presStyleLbl="revTx" presStyleIdx="0" presStyleCnt="1">
        <dgm:presLayoutVars>
          <dgm:bulletEnabled val="1"/>
        </dgm:presLayoutVars>
      </dgm:prSet>
      <dgm:spPr/>
    </dgm:pt>
  </dgm:ptLst>
  <dgm:cxnLst>
    <dgm:cxn modelId="{9E49E00B-EE5E-46BC-A929-4110C97F26F0}" srcId="{ACAAE0B2-0937-44FB-B5FE-AC045288E04A}" destId="{22CEDA83-D5A0-48DB-8163-E40BFC900E3A}" srcOrd="0" destOrd="0" parTransId="{FFA84FBB-5C0E-4271-ADEC-F93B38D5AC82}" sibTransId="{641045D7-E9BC-4DA4-8321-010DF4C62CB0}"/>
    <dgm:cxn modelId="{A80BE131-CCB1-4364-BBA8-4A753DE68435}" type="presOf" srcId="{4698D926-E9FC-473E-A199-116788C3DAD5}" destId="{6607D736-F936-4CC9-A85F-F24CE4EC548D}" srcOrd="0" destOrd="1" presId="urn:microsoft.com/office/officeart/2005/8/layout/vList2"/>
    <dgm:cxn modelId="{4E0ACF4E-7CBE-438E-9BED-EE84B63C1AF9}" type="presOf" srcId="{5CAC6E89-8D61-41CE-B485-D446E81BC557}" destId="{7A91A4FC-4ED9-41B2-9B83-09BE415FCECF}" srcOrd="0" destOrd="0" presId="urn:microsoft.com/office/officeart/2005/8/layout/vList2"/>
    <dgm:cxn modelId="{64609A74-824C-4706-8E66-B272406970BD}" type="presOf" srcId="{ACAAE0B2-0937-44FB-B5FE-AC045288E04A}" destId="{BD69AF70-FDD3-4F65-B044-186A952BCA3E}" srcOrd="0" destOrd="0" presId="urn:microsoft.com/office/officeart/2005/8/layout/vList2"/>
    <dgm:cxn modelId="{02606483-A327-4625-BAAF-E608969542AC}" type="presOf" srcId="{4E045BB2-63F7-4DA4-88B4-A8C927B884A3}" destId="{4364C633-99A8-442F-AB7B-98CC9B35593A}" srcOrd="0" destOrd="0" presId="urn:microsoft.com/office/officeart/2005/8/layout/vList2"/>
    <dgm:cxn modelId="{F97D9C96-F0EB-4244-9AF6-16645DA9715D}" srcId="{5CAC6E89-8D61-41CE-B485-D446E81BC557}" destId="{4E045BB2-63F7-4DA4-88B4-A8C927B884A3}" srcOrd="0" destOrd="0" parTransId="{129C0E1A-0AE7-41B1-A837-DC59CD4AF189}" sibTransId="{B30E668D-F2B1-4184-B260-F1D6EE3B2B96}"/>
    <dgm:cxn modelId="{2DAB5B9B-4B6E-4051-9C45-7A744800A7D9}" type="presOf" srcId="{45F22626-D450-421C-A612-BA0F097ADBB1}" destId="{709EF244-9908-42D8-B846-1F5AE2BBD0F8}" srcOrd="0" destOrd="0" presId="urn:microsoft.com/office/officeart/2005/8/layout/vList2"/>
    <dgm:cxn modelId="{CBCDE3A0-4689-4E67-BDBC-D23F92B280DC}" type="presOf" srcId="{22CEDA83-D5A0-48DB-8163-E40BFC900E3A}" destId="{6607D736-F936-4CC9-A85F-F24CE4EC548D}" srcOrd="0" destOrd="0" presId="urn:microsoft.com/office/officeart/2005/8/layout/vList2"/>
    <dgm:cxn modelId="{43464EAA-0564-4781-B7D6-8BFF430F5D57}" srcId="{5CAC6E89-8D61-41CE-B485-D446E81BC557}" destId="{45F22626-D450-421C-A612-BA0F097ADBB1}" srcOrd="1" destOrd="0" parTransId="{F90B12C8-D7C3-4413-900E-D1FD6CEBE301}" sibTransId="{18681B9E-B438-47C6-942B-C78E8AE2FEB5}"/>
    <dgm:cxn modelId="{217E1EBD-8479-439E-8DEB-D7CFB5A7895E}" srcId="{5CAC6E89-8D61-41CE-B485-D446E81BC557}" destId="{ACAAE0B2-0937-44FB-B5FE-AC045288E04A}" srcOrd="2" destOrd="0" parTransId="{6411EE85-D37B-4436-8480-87B3766C20F3}" sibTransId="{1DD20117-8A2D-4729-AC22-39B059DF0BEE}"/>
    <dgm:cxn modelId="{D338C2D1-E535-47F4-BD37-041624F8E7CF}" srcId="{ACAAE0B2-0937-44FB-B5FE-AC045288E04A}" destId="{4698D926-E9FC-473E-A199-116788C3DAD5}" srcOrd="1" destOrd="0" parTransId="{8118A63B-FCA9-462A-A61B-1C76B454E7E4}" sibTransId="{97D15FA7-2993-435D-B218-1D0DB1E1821A}"/>
    <dgm:cxn modelId="{A6A93FD3-A4AB-42BF-9F8C-DAF998B48B2C}" srcId="{ACAAE0B2-0937-44FB-B5FE-AC045288E04A}" destId="{6E8A5037-9B71-4A75-8A9B-617673E9E56E}" srcOrd="2" destOrd="0" parTransId="{85B385CF-F739-4791-9C26-9381F1E153A9}" sibTransId="{0889D297-3370-4C46-8EBF-0F17AFDB9037}"/>
    <dgm:cxn modelId="{2B6B0CFA-1498-4B97-95A0-F0F3F37163EF}" type="presOf" srcId="{6E8A5037-9B71-4A75-8A9B-617673E9E56E}" destId="{6607D736-F936-4CC9-A85F-F24CE4EC548D}" srcOrd="0" destOrd="2" presId="urn:microsoft.com/office/officeart/2005/8/layout/vList2"/>
    <dgm:cxn modelId="{3B30F471-99E1-4409-B462-112C5BA97393}" type="presParOf" srcId="{7A91A4FC-4ED9-41B2-9B83-09BE415FCECF}" destId="{4364C633-99A8-442F-AB7B-98CC9B35593A}" srcOrd="0" destOrd="0" presId="urn:microsoft.com/office/officeart/2005/8/layout/vList2"/>
    <dgm:cxn modelId="{80969032-0964-4D75-BBBA-39C8B4DCB4D5}" type="presParOf" srcId="{7A91A4FC-4ED9-41B2-9B83-09BE415FCECF}" destId="{F9EDBD90-9011-4E62-9E36-F388ABABDF42}" srcOrd="1" destOrd="0" presId="urn:microsoft.com/office/officeart/2005/8/layout/vList2"/>
    <dgm:cxn modelId="{2589432A-19F8-4B2D-8FFC-8340FC3AD2C0}" type="presParOf" srcId="{7A91A4FC-4ED9-41B2-9B83-09BE415FCECF}" destId="{709EF244-9908-42D8-B846-1F5AE2BBD0F8}" srcOrd="2" destOrd="0" presId="urn:microsoft.com/office/officeart/2005/8/layout/vList2"/>
    <dgm:cxn modelId="{BA439873-8D2D-4337-99C1-6BC17A31037E}" type="presParOf" srcId="{7A91A4FC-4ED9-41B2-9B83-09BE415FCECF}" destId="{F40828B5-81DB-46E2-8DB9-E67358A03CCD}" srcOrd="3" destOrd="0" presId="urn:microsoft.com/office/officeart/2005/8/layout/vList2"/>
    <dgm:cxn modelId="{DCC1C9D2-1413-49CA-9AAE-051FCE8893A2}" type="presParOf" srcId="{7A91A4FC-4ED9-41B2-9B83-09BE415FCECF}" destId="{BD69AF70-FDD3-4F65-B044-186A952BCA3E}" srcOrd="4" destOrd="0" presId="urn:microsoft.com/office/officeart/2005/8/layout/vList2"/>
    <dgm:cxn modelId="{B4908442-7010-42DB-86CC-13E48BD7B440}" type="presParOf" srcId="{7A91A4FC-4ED9-41B2-9B83-09BE415FCECF}" destId="{6607D736-F936-4CC9-A85F-F24CE4EC548D}" srcOrd="5"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5CAC6E89-8D61-41CE-B485-D446E81BC557}" type="doc">
      <dgm:prSet loTypeId="urn:microsoft.com/office/officeart/2005/8/layout/vList2" loCatId="list" qsTypeId="urn:microsoft.com/office/officeart/2005/8/quickstyle/simple1" qsCatId="simple" csTypeId="urn:microsoft.com/office/officeart/2005/8/colors/colorful4" csCatId="colorful" phldr="1"/>
      <dgm:spPr/>
      <dgm:t>
        <a:bodyPr/>
        <a:lstStyle/>
        <a:p>
          <a:endParaRPr lang="en-US"/>
        </a:p>
      </dgm:t>
    </dgm:pt>
    <dgm:pt modelId="{FB9E8E93-E505-4F61-B986-63526300BB1E}">
      <dgm:prSet phldrT="[Text]" phldr="0"/>
      <dgm:spPr/>
      <dgm:t>
        <a:bodyPr/>
        <a:lstStyle/>
        <a:p>
          <a:r>
            <a:rPr lang="en-US" dirty="0"/>
            <a:t>During initial compilation PSP optimization will evaluate the most “at risk” parameterized predicates (up to three out of all available)</a:t>
          </a:r>
          <a:endParaRPr lang="en-US" b="1" dirty="0"/>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64ED2EE4-A642-40B7-81E6-BCFCD4A170F9}">
      <dgm:prSet/>
      <dgm:spPr/>
      <dgm:t>
        <a:bodyPr/>
        <a:lstStyle/>
        <a:p>
          <a:r>
            <a:rPr lang="en-US" dirty="0"/>
            <a:t>First version is scoped to equality predicates referencing statistics-covered columns;  </a:t>
          </a:r>
          <a:r>
            <a:rPr lang="en-US" dirty="0">
              <a:latin typeface="Consolas" panose="020B0609020204030204" pitchFamily="49" charset="0"/>
            </a:rPr>
            <a:t>WHERE </a:t>
          </a:r>
          <a:r>
            <a:rPr lang="en-US" dirty="0" err="1">
              <a:latin typeface="Consolas" panose="020B0609020204030204" pitchFamily="49" charset="0"/>
            </a:rPr>
            <a:t>AgentId</a:t>
          </a:r>
          <a:r>
            <a:rPr lang="en-US" dirty="0">
              <a:latin typeface="Consolas" panose="020B0609020204030204" pitchFamily="49" charset="0"/>
            </a:rPr>
            <a:t> = @AgentId</a:t>
          </a:r>
        </a:p>
      </dgm:t>
    </dgm:pt>
    <dgm:pt modelId="{29D63EA4-4AFB-4EFC-869C-051C43C4A303}" type="parTrans" cxnId="{FDC2D4D1-068D-47ED-BFA1-E5BFDC32F7C6}">
      <dgm:prSet/>
      <dgm:spPr/>
      <dgm:t>
        <a:bodyPr/>
        <a:lstStyle/>
        <a:p>
          <a:endParaRPr lang="en-US"/>
        </a:p>
      </dgm:t>
    </dgm:pt>
    <dgm:pt modelId="{1EE76036-E0AF-47AD-A59B-E1FF963EF864}" type="sibTrans" cxnId="{FDC2D4D1-068D-47ED-BFA1-E5BFDC32F7C6}">
      <dgm:prSet/>
      <dgm:spPr/>
      <dgm:t>
        <a:bodyPr/>
        <a:lstStyle/>
        <a:p>
          <a:endParaRPr lang="en-US"/>
        </a:p>
      </dgm:t>
    </dgm:pt>
    <dgm:pt modelId="{72ABF823-178C-4100-B561-A8F279FAD6A5}">
      <dgm:prSet/>
      <dgm:spPr/>
      <dgm:t>
        <a:bodyPr/>
        <a:lstStyle/>
        <a:p>
          <a:r>
            <a:rPr lang="en-US" dirty="0"/>
            <a:t>Uses the statistics histogram to identify non-uniform distributions</a:t>
          </a:r>
        </a:p>
      </dgm:t>
    </dgm:pt>
    <dgm:pt modelId="{D03C5D29-2E74-45A0-BB1B-8FB99827677E}" type="parTrans" cxnId="{CBAF0048-BFFC-4AA7-B072-436FDAA272C9}">
      <dgm:prSet/>
      <dgm:spPr/>
      <dgm:t>
        <a:bodyPr/>
        <a:lstStyle/>
        <a:p>
          <a:endParaRPr lang="en-US"/>
        </a:p>
      </dgm:t>
    </dgm:pt>
    <dgm:pt modelId="{955AE891-7D62-49A5-A836-B2E0DE29A864}" type="sibTrans" cxnId="{CBAF0048-BFFC-4AA7-B072-436FDAA272C9}">
      <dgm:prSet/>
      <dgm:spPr/>
      <dgm:t>
        <a:bodyPr/>
        <a:lstStyle/>
        <a:p>
          <a:endParaRPr lang="en-US"/>
        </a:p>
      </dgm:t>
    </dgm:pt>
    <dgm:pt modelId="{7A91A4FC-4ED9-41B2-9B83-09BE415FCECF}" type="pres">
      <dgm:prSet presAssocID="{5CAC6E89-8D61-41CE-B485-D446E81BC557}" presName="linear" presStyleCnt="0">
        <dgm:presLayoutVars>
          <dgm:animLvl val="lvl"/>
          <dgm:resizeHandles val="exact"/>
        </dgm:presLayoutVars>
      </dgm:prSet>
      <dgm:spPr/>
    </dgm:pt>
    <dgm:pt modelId="{44CFF34A-7C23-4C2F-B398-F47637EF0A18}" type="pres">
      <dgm:prSet presAssocID="{FB9E8E93-E505-4F61-B986-63526300BB1E}" presName="parentText" presStyleLbl="node1" presStyleIdx="0" presStyleCnt="3">
        <dgm:presLayoutVars>
          <dgm:chMax val="0"/>
          <dgm:bulletEnabled val="1"/>
        </dgm:presLayoutVars>
      </dgm:prSet>
      <dgm:spPr/>
    </dgm:pt>
    <dgm:pt modelId="{1EFF5E9D-FD45-4AE1-B84F-FA4E6CDDA175}" type="pres">
      <dgm:prSet presAssocID="{D0DB3B49-9806-45F0-815F-F683F3A245D5}" presName="spacer" presStyleCnt="0"/>
      <dgm:spPr/>
    </dgm:pt>
    <dgm:pt modelId="{9FF63987-23BA-4130-A511-B8D519664930}" type="pres">
      <dgm:prSet presAssocID="{64ED2EE4-A642-40B7-81E6-BCFCD4A170F9}" presName="parentText" presStyleLbl="node1" presStyleIdx="1" presStyleCnt="3">
        <dgm:presLayoutVars>
          <dgm:chMax val="0"/>
          <dgm:bulletEnabled val="1"/>
        </dgm:presLayoutVars>
      </dgm:prSet>
      <dgm:spPr/>
    </dgm:pt>
    <dgm:pt modelId="{B10A171C-6CCA-44D7-B0D8-E26327561C2D}" type="pres">
      <dgm:prSet presAssocID="{1EE76036-E0AF-47AD-A59B-E1FF963EF864}" presName="spacer" presStyleCnt="0"/>
      <dgm:spPr/>
    </dgm:pt>
    <dgm:pt modelId="{2C8B49A1-8B54-4C9F-B82C-77A5F6BE6562}" type="pres">
      <dgm:prSet presAssocID="{72ABF823-178C-4100-B561-A8F279FAD6A5}" presName="parentText" presStyleLbl="node1" presStyleIdx="2" presStyleCnt="3">
        <dgm:presLayoutVars>
          <dgm:chMax val="0"/>
          <dgm:bulletEnabled val="1"/>
        </dgm:presLayoutVars>
      </dgm:prSet>
      <dgm:spPr/>
    </dgm:pt>
  </dgm:ptLst>
  <dgm:cxnLst>
    <dgm:cxn modelId="{35004A06-485C-4CBE-BC19-E8E46446078D}" type="presOf" srcId="{72ABF823-178C-4100-B561-A8F279FAD6A5}" destId="{2C8B49A1-8B54-4C9F-B82C-77A5F6BE6562}" srcOrd="0" destOrd="0" presId="urn:microsoft.com/office/officeart/2005/8/layout/vList2"/>
    <dgm:cxn modelId="{50B68244-667E-4A60-9DBF-40708B2B7104}" srcId="{5CAC6E89-8D61-41CE-B485-D446E81BC557}" destId="{FB9E8E93-E505-4F61-B986-63526300BB1E}" srcOrd="0" destOrd="0" parTransId="{0A28C454-11D4-48BA-B856-5DF1A51C6CA8}" sibTransId="{D0DB3B49-9806-45F0-815F-F683F3A245D5}"/>
    <dgm:cxn modelId="{CBAF0048-BFFC-4AA7-B072-436FDAA272C9}" srcId="{5CAC6E89-8D61-41CE-B485-D446E81BC557}" destId="{72ABF823-178C-4100-B561-A8F279FAD6A5}" srcOrd="2" destOrd="0" parTransId="{D03C5D29-2E74-45A0-BB1B-8FB99827677E}" sibTransId="{955AE891-7D62-49A5-A836-B2E0DE29A864}"/>
    <dgm:cxn modelId="{4E0ACF4E-7CBE-438E-9BED-EE84B63C1AF9}" type="presOf" srcId="{5CAC6E89-8D61-41CE-B485-D446E81BC557}" destId="{7A91A4FC-4ED9-41B2-9B83-09BE415FCECF}" srcOrd="0" destOrd="0" presId="urn:microsoft.com/office/officeart/2005/8/layout/vList2"/>
    <dgm:cxn modelId="{E0A86170-C223-416B-90DF-D925F51C0349}" type="presOf" srcId="{64ED2EE4-A642-40B7-81E6-BCFCD4A170F9}" destId="{9FF63987-23BA-4130-A511-B8D519664930}" srcOrd="0" destOrd="0" presId="urn:microsoft.com/office/officeart/2005/8/layout/vList2"/>
    <dgm:cxn modelId="{D2B9A252-4CFF-4626-BDA7-764ED4A4B2A2}" type="presOf" srcId="{FB9E8E93-E505-4F61-B986-63526300BB1E}" destId="{44CFF34A-7C23-4C2F-B398-F47637EF0A18}" srcOrd="0" destOrd="0" presId="urn:microsoft.com/office/officeart/2005/8/layout/vList2"/>
    <dgm:cxn modelId="{FDC2D4D1-068D-47ED-BFA1-E5BFDC32F7C6}" srcId="{5CAC6E89-8D61-41CE-B485-D446E81BC557}" destId="{64ED2EE4-A642-40B7-81E6-BCFCD4A170F9}" srcOrd="1" destOrd="0" parTransId="{29D63EA4-4AFB-4EFC-869C-051C43C4A303}" sibTransId="{1EE76036-E0AF-47AD-A59B-E1FF963EF864}"/>
    <dgm:cxn modelId="{63651FE2-F07C-48DF-9EDA-4325077B3F40}" type="presParOf" srcId="{7A91A4FC-4ED9-41B2-9B83-09BE415FCECF}" destId="{44CFF34A-7C23-4C2F-B398-F47637EF0A18}" srcOrd="0" destOrd="0" presId="urn:microsoft.com/office/officeart/2005/8/layout/vList2"/>
    <dgm:cxn modelId="{76EF8495-88CD-4B52-B7C2-B71B203215FB}" type="presParOf" srcId="{7A91A4FC-4ED9-41B2-9B83-09BE415FCECF}" destId="{1EFF5E9D-FD45-4AE1-B84F-FA4E6CDDA175}" srcOrd="1" destOrd="0" presId="urn:microsoft.com/office/officeart/2005/8/layout/vList2"/>
    <dgm:cxn modelId="{7AD8E1A9-BF5B-4A89-BA4B-4CFCC04C06B5}" type="presParOf" srcId="{7A91A4FC-4ED9-41B2-9B83-09BE415FCECF}" destId="{9FF63987-23BA-4130-A511-B8D519664930}" srcOrd="2" destOrd="0" presId="urn:microsoft.com/office/officeart/2005/8/layout/vList2"/>
    <dgm:cxn modelId="{BC5B5093-9FB1-4E12-BEE2-C2C799920565}" type="presParOf" srcId="{7A91A4FC-4ED9-41B2-9B83-09BE415FCECF}" destId="{B10A171C-6CCA-44D7-B0D8-E26327561C2D}" srcOrd="3" destOrd="0" presId="urn:microsoft.com/office/officeart/2005/8/layout/vList2"/>
    <dgm:cxn modelId="{1071FC0A-99F2-4918-948A-F00EFB1C0A93}" type="presParOf" srcId="{7A91A4FC-4ED9-41B2-9B83-09BE415FCECF}" destId="{2C8B49A1-8B54-4C9F-B82C-77A5F6BE6562}" srcOrd="4"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chemeClr val="tx2">
            <a:lumMod val="60000"/>
            <a:lumOff val="40000"/>
          </a:schemeClr>
        </a:solidFill>
      </dgm:spPr>
      <dgm:t>
        <a:bodyPr/>
        <a:lstStyle/>
        <a:p>
          <a:r>
            <a:rPr lang="en-US" dirty="0"/>
            <a:t>Feedback Persistenc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5E4D45D3-4EEE-44BF-BB04-85EB89632980}" type="asst">
      <dgm:prSet phldrT="[Text]"/>
      <dgm:spPr>
        <a:solidFill>
          <a:schemeClr val="accent5"/>
        </a:solidFill>
      </dgm:spPr>
      <dgm:t>
        <a:bodyPr/>
        <a:lstStyle/>
        <a:p>
          <a:r>
            <a:rPr lang="en-US" dirty="0"/>
            <a:t>Memory Grant Feedback</a:t>
          </a:r>
        </a:p>
      </dgm:t>
    </dgm:pt>
    <dgm:pt modelId="{B8064B35-238A-4C65-8D31-8EB550D8EE46}" type="parTrans" cxnId="{3B185282-4DAB-4C10-A7E7-21EEFCA76B4B}">
      <dgm:prSet/>
      <dgm:spPr/>
      <dgm:t>
        <a:bodyPr/>
        <a:lstStyle/>
        <a:p>
          <a:endParaRPr lang="en-US"/>
        </a:p>
      </dgm:t>
    </dgm:pt>
    <dgm:pt modelId="{65BAB6D8-2E20-414D-8678-C7623740EA0B}" type="sibTrans" cxnId="{3B185282-4DAB-4C10-A7E7-21EEFCA76B4B}">
      <dgm:prSet/>
      <dgm:spPr/>
      <dgm:t>
        <a:bodyPr/>
        <a:lstStyle/>
        <a:p>
          <a:endParaRPr lang="en-US"/>
        </a:p>
      </dgm:t>
    </dgm:pt>
    <dgm:pt modelId="{05BCB79C-BFFC-40EA-AC08-07E846FCF786}" type="asst">
      <dgm:prSet phldrT="[Text]"/>
      <dgm:spPr>
        <a:solidFill>
          <a:schemeClr val="accent6">
            <a:lumMod val="75000"/>
          </a:schemeClr>
        </a:solidFill>
      </dgm:spPr>
      <dgm:t>
        <a:bodyPr/>
        <a:lstStyle/>
        <a:p>
          <a:r>
            <a:rPr lang="en-US" dirty="0"/>
            <a:t>Row Mode</a:t>
          </a:r>
        </a:p>
      </dgm:t>
    </dgm:pt>
    <dgm:pt modelId="{65EFF804-408F-48C0-9772-30C0A76E5CEE}" type="parTrans" cxnId="{1B504EE9-3243-4559-9F55-F693B856E65E}">
      <dgm:prSet/>
      <dgm:spPr/>
      <dgm:t>
        <a:bodyPr/>
        <a:lstStyle/>
        <a:p>
          <a:endParaRPr lang="en-US"/>
        </a:p>
      </dgm:t>
    </dgm:pt>
    <dgm:pt modelId="{E05952B9-F3FF-4088-AB3E-BE9A831EDAA0}" type="sibTrans" cxnId="{1B504EE9-3243-4559-9F55-F693B856E65E}">
      <dgm:prSet/>
      <dgm:spPr/>
      <dgm:t>
        <a:bodyPr/>
        <a:lstStyle/>
        <a:p>
          <a:endParaRPr lang="en-US"/>
        </a:p>
      </dgm:t>
    </dgm:pt>
    <dgm:pt modelId="{28D1B84A-E065-40FD-BD5D-03D24AFCCF3D}" type="asst">
      <dgm:prSet phldrT="[Text]"/>
      <dgm:spPr>
        <a:solidFill>
          <a:schemeClr val="tx2">
            <a:lumMod val="60000"/>
            <a:lumOff val="40000"/>
          </a:schemeClr>
        </a:solidFill>
      </dgm:spPr>
      <dgm:t>
        <a:bodyPr/>
        <a:lstStyle/>
        <a:p>
          <a:r>
            <a:rPr lang="en-US" dirty="0"/>
            <a:t>Approximate Percentile</a:t>
          </a:r>
        </a:p>
      </dgm:t>
    </dgm:pt>
    <dgm:pt modelId="{4EE2EAB5-6A7E-48F2-98F8-E9C8AF624649}" type="parTrans" cxnId="{37A8C165-C989-4E4B-964F-EBE3360E6646}">
      <dgm:prSet/>
      <dgm:spPr/>
      <dgm:t>
        <a:bodyPr/>
        <a:lstStyle/>
        <a:p>
          <a:endParaRPr lang="en-US"/>
        </a:p>
      </dgm:t>
    </dgm:pt>
    <dgm:pt modelId="{34CF20BC-F95D-4F09-A4FE-EF010505E83B}" type="sibTrans" cxnId="{37A8C165-C989-4E4B-964F-EBE3360E6646}">
      <dgm:prSet/>
      <dgm:spPr/>
      <dgm:t>
        <a:bodyPr/>
        <a:lstStyle/>
        <a:p>
          <a:endParaRPr lang="en-US"/>
        </a:p>
      </dgm:t>
    </dgm:pt>
    <dgm:pt modelId="{716DC358-E50A-4465-9552-0F542C15068C}" type="asst">
      <dgm:prSet phldrT="[Text]"/>
      <dgm:spPr>
        <a:solidFill>
          <a:schemeClr val="tx2">
            <a:lumMod val="60000"/>
            <a:lumOff val="40000"/>
          </a:schemeClr>
        </a:solidFill>
      </dgm:spPr>
      <dgm:t>
        <a:bodyPr/>
        <a:lstStyle/>
        <a:p>
          <a:r>
            <a:rPr lang="en-US" dirty="0"/>
            <a:t>Parameter Sensitive Plan Optimization</a:t>
          </a:r>
        </a:p>
      </dgm:t>
    </dgm:pt>
    <dgm:pt modelId="{5E125E7F-2924-434E-8A12-D0BB81488294}" type="parTrans" cxnId="{7CC43844-8375-4BC3-BBEE-6822921E2991}">
      <dgm:prSet/>
      <dgm:spPr/>
      <dgm:t>
        <a:bodyPr/>
        <a:lstStyle/>
        <a:p>
          <a:endParaRPr lang="en-US"/>
        </a:p>
      </dgm:t>
    </dgm:pt>
    <dgm:pt modelId="{A72B7E00-C70C-42CA-9F52-F69093192028}" type="sibTrans" cxnId="{7CC43844-8375-4BC3-BBEE-6822921E2991}">
      <dgm:prSet/>
      <dgm:spPr/>
      <dgm:t>
        <a:bodyPr/>
        <a:lstStyle/>
        <a:p>
          <a:endParaRPr lang="en-US"/>
        </a:p>
      </dgm:t>
    </dgm:pt>
    <dgm:pt modelId="{861DEF92-2271-49BB-8DAC-23DA80D99B90}" type="asst">
      <dgm:prSet phldrT="[Text]"/>
      <dgm:spPr>
        <a:solidFill>
          <a:schemeClr val="tx2">
            <a:lumMod val="60000"/>
            <a:lumOff val="40000"/>
          </a:schemeClr>
        </a:solidFill>
      </dgm:spPr>
      <dgm:t>
        <a:bodyPr/>
        <a:lstStyle/>
        <a:p>
          <a:r>
            <a:rPr lang="en-US" dirty="0"/>
            <a:t>CE Feedback</a:t>
          </a:r>
        </a:p>
      </dgm:t>
    </dgm:pt>
    <dgm:pt modelId="{691A60E3-A9F1-4BB7-B61A-8AFCF7412C11}" type="parTrans" cxnId="{2FDF8B99-FC59-406B-A1FD-8AF9C9CEA3D4}">
      <dgm:prSet/>
      <dgm:spPr/>
      <dgm:t>
        <a:bodyPr/>
        <a:lstStyle/>
        <a:p>
          <a:endParaRPr lang="en-US"/>
        </a:p>
      </dgm:t>
    </dgm:pt>
    <dgm:pt modelId="{5CBBAEA1-BB2D-4AFA-BEF6-8B6D03DE3CFE}" type="sibTrans" cxnId="{2FDF8B99-FC59-406B-A1FD-8AF9C9CEA3D4}">
      <dgm:prSet/>
      <dgm:spPr/>
      <dgm:t>
        <a:bodyPr/>
        <a:lstStyle/>
        <a:p>
          <a:endParaRPr lang="en-US"/>
        </a:p>
      </dgm:t>
    </dgm:pt>
    <dgm:pt modelId="{B0CDA07E-75AA-4E21-B99D-9A7EC2AC2297}" type="asst">
      <dgm:prSet phldrT="[Text]"/>
      <dgm:spPr>
        <a:solidFill>
          <a:schemeClr val="tx2">
            <a:lumMod val="60000"/>
            <a:lumOff val="40000"/>
          </a:schemeClr>
        </a:solidFill>
      </dgm:spPr>
      <dgm:t>
        <a:bodyPr/>
        <a:lstStyle/>
        <a:p>
          <a:r>
            <a:rPr lang="en-US" dirty="0"/>
            <a:t>DOP Feedback</a:t>
          </a:r>
        </a:p>
      </dgm:t>
    </dgm:pt>
    <dgm:pt modelId="{27CC5377-3579-4E3E-8156-C39F82F5C364}" type="parTrans" cxnId="{0F56A91A-1153-4932-8504-5E62188AEAC8}">
      <dgm:prSet/>
      <dgm:spPr/>
      <dgm:t>
        <a:bodyPr/>
        <a:lstStyle/>
        <a:p>
          <a:endParaRPr lang="en-US"/>
        </a:p>
      </dgm:t>
    </dgm:pt>
    <dgm:pt modelId="{5F20F1D6-8A88-425A-800F-2A5B575C67AC}" type="sibTrans" cxnId="{0F56A91A-1153-4932-8504-5E62188AEAC8}">
      <dgm:prSet/>
      <dgm:spPr/>
      <dgm:t>
        <a:bodyPr/>
        <a:lstStyle/>
        <a:p>
          <a:endParaRPr lang="en-US"/>
        </a:p>
      </dgm:t>
    </dgm:pt>
    <dgm:pt modelId="{3CD5CFD3-BDE6-464E-A6B2-75C739BA359E}" type="asst">
      <dgm:prSet phldrT="[Text]"/>
      <dgm:spPr>
        <a:solidFill>
          <a:schemeClr val="tx2">
            <a:lumMod val="60000"/>
            <a:lumOff val="40000"/>
          </a:schemeClr>
        </a:solidFill>
      </dgm:spPr>
      <dgm:t>
        <a:bodyPr/>
        <a:lstStyle/>
        <a:p>
          <a:r>
            <a:rPr lang="en-US" dirty="0"/>
            <a:t>Optimized Plan Forcing</a:t>
          </a:r>
        </a:p>
      </dgm:t>
    </dgm:pt>
    <dgm:pt modelId="{4ADED6B5-E565-4820-AA0B-8E50119B2A68}" type="parTrans" cxnId="{31898D56-DC85-4676-B4A1-43FA0559E339}">
      <dgm:prSet/>
      <dgm:spPr/>
      <dgm:t>
        <a:bodyPr/>
        <a:lstStyle/>
        <a:p>
          <a:endParaRPr lang="en-US"/>
        </a:p>
      </dgm:t>
    </dgm:pt>
    <dgm:pt modelId="{2787EFF7-F677-4D90-BF2B-4CB2E5C89949}" type="sibTrans" cxnId="{31898D56-DC85-4676-B4A1-43FA0559E33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2A969FB1-A0CA-4BCB-9811-B1C2A2D37CF2}" type="pres">
      <dgm:prSet presAssocID="{DAF4A804-FF79-40DF-805D-58E5C402C862}" presName="Name19" presStyleLbl="parChTrans1D2" presStyleIdx="0" presStyleCnt="7"/>
      <dgm:spPr/>
    </dgm:pt>
    <dgm:pt modelId="{C3EFDF95-9A92-436A-B74A-D10E620D8558}" type="pres">
      <dgm:prSet presAssocID="{2787F9B9-D9EE-40F6-ABD4-C13F268A8AF1}" presName="Name21" presStyleCnt="0"/>
      <dgm:spPr/>
    </dgm:pt>
    <dgm:pt modelId="{4AC8CF5E-1D5D-4BBE-AAC6-1A65B9CD9224}" type="pres">
      <dgm:prSet presAssocID="{2787F9B9-D9EE-40F6-ABD4-C13F268A8AF1}" presName="level2Shape" presStyleLbl="node2" presStyleIdx="0" presStyleCnt="1"/>
      <dgm:spPr/>
    </dgm:pt>
    <dgm:pt modelId="{4C118CD9-0F4D-4592-8997-BCE0C79E8E72}" type="pres">
      <dgm:prSet presAssocID="{2787F9B9-D9EE-40F6-ABD4-C13F268A8AF1}" presName="hierChild3" presStyleCnt="0"/>
      <dgm:spPr/>
    </dgm:pt>
    <dgm:pt modelId="{9B0BC5A7-6A70-41C3-871D-416E6CE7FB15}" type="pres">
      <dgm:prSet presAssocID="{9D361AED-F287-426D-889C-035A581FCAD4}" presName="Name19" presStyleLbl="parChTrans1D3" presStyleIdx="0" presStyleCnt="7"/>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2"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3" presStyleIdx="1" presStyleCnt="7"/>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2" presStyleIdx="1" presStyleCnt="8"/>
      <dgm:spPr/>
    </dgm:pt>
    <dgm:pt modelId="{B89EE319-8A68-4B6F-A445-40F4B0A04EE8}" type="pres">
      <dgm:prSet presAssocID="{8277FB8B-9D39-4CC5-BDEC-D3827308642F}" presName="hierChild3" presStyleCnt="0"/>
      <dgm:spPr/>
    </dgm:pt>
    <dgm:pt modelId="{BF248486-F648-4871-903F-93B482640036}" type="pres">
      <dgm:prSet presAssocID="{B8064B35-238A-4C65-8D31-8EB550D8EE46}" presName="Name19" presStyleLbl="parChTrans1D3" presStyleIdx="2" presStyleCnt="7"/>
      <dgm:spPr/>
    </dgm:pt>
    <dgm:pt modelId="{6FE122D2-6752-431D-8724-80CE50A9C31E}" type="pres">
      <dgm:prSet presAssocID="{5E4D45D3-4EEE-44BF-BB04-85EB89632980}" presName="Name21" presStyleCnt="0"/>
      <dgm:spPr/>
    </dgm:pt>
    <dgm:pt modelId="{01027D77-40B4-492F-B9BC-73968B2B92A0}" type="pres">
      <dgm:prSet presAssocID="{5E4D45D3-4EEE-44BF-BB04-85EB89632980}" presName="level2Shape" presStyleLbl="asst2" presStyleIdx="2" presStyleCnt="8"/>
      <dgm:spPr/>
    </dgm:pt>
    <dgm:pt modelId="{6E2C3CF8-B46E-4FFF-82FC-557F555F00ED}" type="pres">
      <dgm:prSet presAssocID="{5E4D45D3-4EEE-44BF-BB04-85EB89632980}" presName="hierChild3" presStyleCnt="0"/>
      <dgm:spPr/>
    </dgm:pt>
    <dgm:pt modelId="{5690923D-9059-4138-8ACF-90D405019F80}" type="pres">
      <dgm:prSet presAssocID="{B2937768-267F-4FD0-B209-ADCABB3F2609}" presName="Name19" presStyleLbl="parChTrans1D4"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2" presStyleIdx="3" presStyleCnt="8"/>
      <dgm:spPr/>
    </dgm:pt>
    <dgm:pt modelId="{330902C9-A030-4F0E-8F44-4D46DA5BCFB1}" type="pres">
      <dgm:prSet presAssocID="{270DB351-209F-44E3-AE5D-DD3AA05A8175}" presName="hierChild3" presStyleCnt="0"/>
      <dgm:spPr/>
    </dgm:pt>
    <dgm:pt modelId="{810926B5-7D25-4DDF-8B56-5D578BE910C7}" type="pres">
      <dgm:prSet presAssocID="{65EFF804-408F-48C0-9772-30C0A76E5CEE}" presName="Name19" presStyleLbl="parChTrans1D4" presStyleIdx="1" presStyleCnt="3"/>
      <dgm:spPr/>
    </dgm:pt>
    <dgm:pt modelId="{DCFF6636-F58C-477D-8963-805BCD844A5F}" type="pres">
      <dgm:prSet presAssocID="{05BCB79C-BFFC-40EA-AC08-07E846FCF786}" presName="Name21" presStyleCnt="0"/>
      <dgm:spPr/>
    </dgm:pt>
    <dgm:pt modelId="{527787B6-C2E1-41AC-8A63-E0D44F6095FA}" type="pres">
      <dgm:prSet presAssocID="{05BCB79C-BFFC-40EA-AC08-07E846FCF786}" presName="level2Shape" presStyleLbl="asst2" presStyleIdx="4" presStyleCnt="8"/>
      <dgm:spPr/>
    </dgm:pt>
    <dgm:pt modelId="{89915CAD-8C75-4E3F-960D-6AB98D0B74F4}" type="pres">
      <dgm:prSet presAssocID="{05BCB79C-BFFC-40EA-AC08-07E846FCF786}" presName="hierChild3" presStyleCnt="0"/>
      <dgm:spPr/>
    </dgm:pt>
    <dgm:pt modelId="{5CC0C396-8377-475C-A00D-7F8341A1F477}" type="pres">
      <dgm:prSet presAssocID="{FAA45A8D-079A-4FAC-87D1-08D72268764D}" presName="Name19" presStyleLbl="parChTrans1D4" presStyleIdx="2" presStyleCnt="3"/>
      <dgm:spPr/>
    </dgm:pt>
    <dgm:pt modelId="{20755089-D219-4FE9-8B97-A1923491F114}" type="pres">
      <dgm:prSet presAssocID="{5261F5C2-903F-4994-916A-72A90DAE7F2D}" presName="Name21" presStyleCnt="0"/>
      <dgm:spPr/>
    </dgm:pt>
    <dgm:pt modelId="{82B5BF8B-57A2-4E22-AA4A-CDE9EE34C77B}" type="pres">
      <dgm:prSet presAssocID="{5261F5C2-903F-4994-916A-72A90DAE7F2D}" presName="level2Shape" presStyleLbl="asst2" presStyleIdx="5" presStyleCnt="8"/>
      <dgm:spPr/>
    </dgm:pt>
    <dgm:pt modelId="{65955D25-5FF5-4C6B-92DA-30B6843FBE65}" type="pres">
      <dgm:prSet presAssocID="{5261F5C2-903F-4994-916A-72A90DAE7F2D}" presName="hierChild3" presStyleCnt="0"/>
      <dgm:spPr/>
    </dgm:pt>
    <dgm:pt modelId="{D0464A9B-83F7-4A2D-94B3-57ED5F3C091B}" type="pres">
      <dgm:prSet presAssocID="{691A60E3-A9F1-4BB7-B61A-8AFCF7412C11}" presName="Name19" presStyleLbl="parChTrans1D3" presStyleIdx="3" presStyleCnt="7"/>
      <dgm:spPr/>
    </dgm:pt>
    <dgm:pt modelId="{EDF5D77A-4E31-4D23-9F30-FCF2FFED1E70}" type="pres">
      <dgm:prSet presAssocID="{861DEF92-2271-49BB-8DAC-23DA80D99B90}" presName="Name21" presStyleCnt="0"/>
      <dgm:spPr/>
    </dgm:pt>
    <dgm:pt modelId="{F97BDF46-D920-42CC-AE1D-3430A1C11D9E}" type="pres">
      <dgm:prSet presAssocID="{861DEF92-2271-49BB-8DAC-23DA80D99B90}" presName="level2Shape" presStyleLbl="asst2" presStyleIdx="6" presStyleCnt="8"/>
      <dgm:spPr/>
    </dgm:pt>
    <dgm:pt modelId="{09D64436-1B52-4BBB-9DC6-394FE685D216}" type="pres">
      <dgm:prSet presAssocID="{861DEF92-2271-49BB-8DAC-23DA80D99B90}" presName="hierChild3" presStyleCnt="0"/>
      <dgm:spPr/>
    </dgm:pt>
    <dgm:pt modelId="{BC3E3219-39C3-4268-83EE-67E130107410}" type="pres">
      <dgm:prSet presAssocID="{27CC5377-3579-4E3E-8156-C39F82F5C364}" presName="Name19" presStyleLbl="parChTrans1D3" presStyleIdx="4" presStyleCnt="7"/>
      <dgm:spPr/>
    </dgm:pt>
    <dgm:pt modelId="{C0E1C8F5-8309-4D4E-8059-B9DE3FF0655D}" type="pres">
      <dgm:prSet presAssocID="{B0CDA07E-75AA-4E21-B99D-9A7EC2AC2297}" presName="Name21" presStyleCnt="0"/>
      <dgm:spPr/>
    </dgm:pt>
    <dgm:pt modelId="{1FCB1E33-4F48-4A78-8612-EB7710CE8354}" type="pres">
      <dgm:prSet presAssocID="{B0CDA07E-75AA-4E21-B99D-9A7EC2AC2297}" presName="level2Shape" presStyleLbl="asst2" presStyleIdx="7" presStyleCnt="8"/>
      <dgm:spPr/>
    </dgm:pt>
    <dgm:pt modelId="{8AFE89C8-F601-4215-9EB3-699FC4157F3F}" type="pres">
      <dgm:prSet presAssocID="{B0CDA07E-75AA-4E21-B99D-9A7EC2AC2297}" presName="hierChild3" presStyleCnt="0"/>
      <dgm:spPr/>
    </dgm:pt>
    <dgm:pt modelId="{54FE398B-EB4B-4376-8CAD-D5884C340DB3}" type="pres">
      <dgm:prSet presAssocID="{7E8BFC1C-609E-4A2A-A6DE-56B66744C355}" presName="Name19" presStyleLbl="parChTrans1D2" presStyleIdx="1" presStyleCnt="7"/>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2" presStyleCnt="7"/>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3" presStyleCnt="7"/>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4" presStyleCnt="7"/>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5" presStyleCnt="7"/>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A1CDEA6C-5A4D-425A-B7B4-C84037695A33}" type="pres">
      <dgm:prSet presAssocID="{4EE2EAB5-6A7E-48F2-98F8-E9C8AF624649}" presName="Name19" presStyleLbl="parChTrans1D3" presStyleIdx="6" presStyleCnt="7"/>
      <dgm:spPr/>
    </dgm:pt>
    <dgm:pt modelId="{AEF55D57-FC7B-4B1E-BDC7-D235D7BD4A4D}" type="pres">
      <dgm:prSet presAssocID="{28D1B84A-E065-40FD-BD5D-03D24AFCCF3D}" presName="Name21" presStyleCnt="0"/>
      <dgm:spPr/>
    </dgm:pt>
    <dgm:pt modelId="{512D3DA4-5AF8-45B2-9FCC-D6582DACED2F}" type="pres">
      <dgm:prSet presAssocID="{28D1B84A-E065-40FD-BD5D-03D24AFCCF3D}" presName="level2Shape" presStyleLbl="asst1" presStyleIdx="5" presStyleCnt="8"/>
      <dgm:spPr/>
    </dgm:pt>
    <dgm:pt modelId="{A39338D9-A703-4E4A-A1F8-CD16D98D5C73}" type="pres">
      <dgm:prSet presAssocID="{28D1B84A-E065-40FD-BD5D-03D24AFCCF3D}" presName="hierChild3" presStyleCnt="0"/>
      <dgm:spPr/>
    </dgm:pt>
    <dgm:pt modelId="{F82B889D-DE37-40F0-8FFB-E4677B4D6302}" type="pres">
      <dgm:prSet presAssocID="{4ADED6B5-E565-4820-AA0B-8E50119B2A68}" presName="Name19" presStyleLbl="parChTrans1D2" presStyleIdx="5" presStyleCnt="7"/>
      <dgm:spPr/>
    </dgm:pt>
    <dgm:pt modelId="{C73E9EF3-3718-4F35-84CF-58DA2AEB4ADB}" type="pres">
      <dgm:prSet presAssocID="{3CD5CFD3-BDE6-464E-A6B2-75C739BA359E}" presName="Name21" presStyleCnt="0"/>
      <dgm:spPr/>
    </dgm:pt>
    <dgm:pt modelId="{A3135B42-D037-4853-9860-012953D934F7}" type="pres">
      <dgm:prSet presAssocID="{3CD5CFD3-BDE6-464E-A6B2-75C739BA359E}" presName="level2Shape" presStyleLbl="asst1" presStyleIdx="6" presStyleCnt="8"/>
      <dgm:spPr/>
    </dgm:pt>
    <dgm:pt modelId="{290BC9F3-5981-4A9D-8B4A-A1A33732E062}" type="pres">
      <dgm:prSet presAssocID="{3CD5CFD3-BDE6-464E-A6B2-75C739BA359E}" presName="hierChild3" presStyleCnt="0"/>
      <dgm:spPr/>
    </dgm:pt>
    <dgm:pt modelId="{09C8B667-CAD7-4DC0-985B-9B8F058B52AE}" type="pres">
      <dgm:prSet presAssocID="{5E125E7F-2924-434E-8A12-D0BB81488294}" presName="Name19" presStyleLbl="parChTrans1D2" presStyleIdx="6" presStyleCnt="7"/>
      <dgm:spPr/>
    </dgm:pt>
    <dgm:pt modelId="{C4B81743-A1FC-4FB3-8757-BC64C1740D2B}" type="pres">
      <dgm:prSet presAssocID="{716DC358-E50A-4465-9552-0F542C15068C}" presName="Name21" presStyleCnt="0"/>
      <dgm:spPr/>
    </dgm:pt>
    <dgm:pt modelId="{91731D73-B433-4ECC-937E-D3F66E307A04}" type="pres">
      <dgm:prSet presAssocID="{716DC358-E50A-4465-9552-0F542C15068C}" presName="level2Shape" presStyleLbl="asst1" presStyleIdx="7" presStyleCnt="8"/>
      <dgm:spPr/>
    </dgm:pt>
    <dgm:pt modelId="{C4596AD7-D1B5-4631-997D-B312931C04C9}" type="pres">
      <dgm:prSet presAssocID="{716DC358-E50A-4465-9552-0F542C15068C}" presName="hierChild3" presStyleCnt="0"/>
      <dgm:spPr/>
    </dgm:pt>
    <dgm:pt modelId="{944D2ECF-FF7F-4937-9891-343B25FA2353}" type="pres">
      <dgm:prSet presAssocID="{6E762228-84FE-45B2-9BB6-19E98A9BB7EA}" presName="bgShapesFlow" presStyleCnt="0"/>
      <dgm:spPr/>
    </dgm:pt>
  </dgm:ptLst>
  <dgm:cxnLst>
    <dgm:cxn modelId="{EC6EF400-EB66-45DB-8643-AF5855C0C34C}" type="presOf" srcId="{B8064B35-238A-4C65-8D31-8EB550D8EE46}" destId="{BF248486-F648-4871-903F-93B482640036}" srcOrd="0" destOrd="0" presId="urn:microsoft.com/office/officeart/2005/8/layout/hierarchy6"/>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DEB09203-79E3-4D93-AF4D-5F65A9BC3EF2}" type="presOf" srcId="{270DB351-209F-44E3-AE5D-DD3AA05A8175}" destId="{8F552DA2-FC5B-40D6-B601-DCA076FAF8FB}" srcOrd="0" destOrd="0" presId="urn:microsoft.com/office/officeart/2005/8/layout/hierarchy6"/>
    <dgm:cxn modelId="{742FF205-1B4C-462C-ABBD-F2CB88EA006B}" srcId="{5E4D45D3-4EEE-44BF-BB04-85EB89632980}" destId="{5261F5C2-903F-4994-916A-72A90DAE7F2D}" srcOrd="2" destOrd="0" parTransId="{FAA45A8D-079A-4FAC-87D1-08D72268764D}" sibTransId="{EC32FA2C-6775-4014-B77E-A93B9C2EAE9C}"/>
    <dgm:cxn modelId="{7716060C-6212-4571-8FFD-5141AC57EA7E}" type="presOf" srcId="{8277FB8B-9D39-4CC5-BDEC-D3827308642F}" destId="{B4399AFE-2603-47B7-BCBC-A239B44C86F5}" srcOrd="0" destOrd="0" presId="urn:microsoft.com/office/officeart/2005/8/layout/hierarchy6"/>
    <dgm:cxn modelId="{9CE66014-C5FD-43F4-9E29-7F16A457F8B8}" type="presOf" srcId="{B0CDA07E-75AA-4E21-B99D-9A7EC2AC2297}" destId="{1FCB1E33-4F48-4A78-8612-EB7710CE8354}"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F56A91A-1153-4932-8504-5E62188AEAC8}" srcId="{2787F9B9-D9EE-40F6-ABD4-C13F268A8AF1}" destId="{B0CDA07E-75AA-4E21-B99D-9A7EC2AC2297}" srcOrd="4" destOrd="0" parTransId="{27CC5377-3579-4E3E-8156-C39F82F5C364}" sibTransId="{5F20F1D6-8A88-425A-800F-2A5B575C67AC}"/>
    <dgm:cxn modelId="{B8617E25-688E-475B-8679-A1D87925804B}" srcId="{EC5624F3-2170-43DC-97A6-A153AC2072F1}" destId="{DDFC3CEC-231C-49DE-8234-5A81205F633E}" srcOrd="4" destOrd="0" parTransId="{8258E7A2-05F2-49E4-B3A6-F4702FB05F8A}" sibTransId="{AFF9EF7A-8DCE-46EC-BFDE-38B86F0B3FAA}"/>
    <dgm:cxn modelId="{6D4B0141-C6C4-41B8-B199-554602B5062C}" type="presOf" srcId="{5E4D45D3-4EEE-44BF-BB04-85EB89632980}" destId="{01027D77-40B4-492F-B9BC-73968B2B92A0}"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2E937242-79E4-4644-89D9-2C592367D380}" type="presOf" srcId="{28D1B84A-E065-40FD-BD5D-03D24AFCCF3D}" destId="{512D3DA4-5AF8-45B2-9FCC-D6582DACED2F}" srcOrd="0" destOrd="0" presId="urn:microsoft.com/office/officeart/2005/8/layout/hierarchy6"/>
    <dgm:cxn modelId="{7CC43844-8375-4BC3-BBEE-6822921E2991}" srcId="{EC5624F3-2170-43DC-97A6-A153AC2072F1}" destId="{716DC358-E50A-4465-9552-0F542C15068C}" srcOrd="6" destOrd="0" parTransId="{5E125E7F-2924-434E-8A12-D0BB81488294}" sibTransId="{A72B7E00-C70C-42CA-9F52-F69093192028}"/>
    <dgm:cxn modelId="{37A8C165-C989-4E4B-964F-EBE3360E6646}" srcId="{DDFC3CEC-231C-49DE-8234-5A81205F633E}" destId="{28D1B84A-E065-40FD-BD5D-03D24AFCCF3D}" srcOrd="1" destOrd="0" parTransId="{4EE2EAB5-6A7E-48F2-98F8-E9C8AF624649}" sibTransId="{34CF20BC-F95D-4F09-A4FE-EF010505E83B}"/>
    <dgm:cxn modelId="{EDF7EA4A-10A6-4ED1-82BC-7C38ECBDFC44}" type="presOf" srcId="{69703607-1CEF-4962-A22B-C8239D13F2F4}" destId="{52433208-80E6-4924-B192-66BA710CE757}" srcOrd="0" destOrd="0" presId="urn:microsoft.com/office/officeart/2005/8/layout/hierarchy6"/>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FBDB4D56-4DBC-4B10-8516-DF739FEDA8A0}" type="presOf" srcId="{DDFC3CEC-231C-49DE-8234-5A81205F633E}" destId="{51E36B6D-BDD4-43C9-BE13-97A72EABE1BB}" srcOrd="0" destOrd="0" presId="urn:microsoft.com/office/officeart/2005/8/layout/hierarchy6"/>
    <dgm:cxn modelId="{31898D56-DC85-4676-B4A1-43FA0559E339}" srcId="{EC5624F3-2170-43DC-97A6-A153AC2072F1}" destId="{3CD5CFD3-BDE6-464E-A6B2-75C739BA359E}" srcOrd="5" destOrd="0" parTransId="{4ADED6B5-E565-4820-AA0B-8E50119B2A68}" sibTransId="{2787EFF7-F677-4D90-BF2B-4CB2E5C89949}"/>
    <dgm:cxn modelId="{D2285F77-70AE-4381-B1CA-B50F3DB313C9}" type="presOf" srcId="{4EE2EAB5-6A7E-48F2-98F8-E9C8AF624649}" destId="{A1CDEA6C-5A4D-425A-B7B4-C84037695A3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CF547479-DB1A-4EDB-8110-672617BA1145}" type="presOf" srcId="{861DEF92-2271-49BB-8DAC-23DA80D99B90}" destId="{F97BDF46-D920-42CC-AE1D-3430A1C11D9E}" srcOrd="0" destOrd="0" presId="urn:microsoft.com/office/officeart/2005/8/layout/hierarchy6"/>
    <dgm:cxn modelId="{0C8C777A-95D7-42BF-840E-D461EDAE87FA}" type="presOf" srcId="{716DC358-E50A-4465-9552-0F542C15068C}" destId="{91731D73-B433-4ECC-937E-D3F66E307A04}"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3B185282-4DAB-4C10-A7E7-21EEFCA76B4B}" srcId="{2787F9B9-D9EE-40F6-ABD4-C13F268A8AF1}" destId="{5E4D45D3-4EEE-44BF-BB04-85EB89632980}" srcOrd="2" destOrd="0" parTransId="{B8064B35-238A-4C65-8D31-8EB550D8EE46}" sibTransId="{65BAB6D8-2E20-414D-8678-C7623740EA0B}"/>
    <dgm:cxn modelId="{7E8B6988-AC2C-4577-8ACF-52A105CA95A0}" type="presOf" srcId="{DAF4A804-FF79-40DF-805D-58E5C402C862}" destId="{2A969FB1-A0CA-4BCB-9811-B1C2A2D37CF2}" srcOrd="0" destOrd="0" presId="urn:microsoft.com/office/officeart/2005/8/layout/hierarchy6"/>
    <dgm:cxn modelId="{D123C888-CB7E-41C5-8703-6A7DC41DD0F3}" type="presOf" srcId="{27CC5377-3579-4E3E-8156-C39F82F5C364}" destId="{BC3E3219-39C3-4268-83EE-67E130107410}" srcOrd="0" destOrd="0" presId="urn:microsoft.com/office/officeart/2005/8/layout/hierarchy6"/>
    <dgm:cxn modelId="{AD5CDF8B-53D7-42D2-B5BE-EC31C4EC75BE}" type="presOf" srcId="{691A60E3-A9F1-4BB7-B61A-8AFCF7412C11}" destId="{D0464A9B-83F7-4A2D-94B3-57ED5F3C091B}" srcOrd="0" destOrd="0" presId="urn:microsoft.com/office/officeart/2005/8/layout/hierarchy6"/>
    <dgm:cxn modelId="{ED1F2096-4928-40C7-B37F-5A6E93633F35}" type="presOf" srcId="{5E125E7F-2924-434E-8A12-D0BB81488294}" destId="{09C8B667-CAD7-4DC0-985B-9B8F058B52AE}" srcOrd="0" destOrd="0" presId="urn:microsoft.com/office/officeart/2005/8/layout/hierarchy6"/>
    <dgm:cxn modelId="{2FDF8B99-FC59-406B-A1FD-8AF9C9CEA3D4}" srcId="{2787F9B9-D9EE-40F6-ABD4-C13F268A8AF1}" destId="{861DEF92-2271-49BB-8DAC-23DA80D99B90}" srcOrd="3" destOrd="0" parTransId="{691A60E3-A9F1-4BB7-B61A-8AFCF7412C11}" sibTransId="{5CBBAEA1-BB2D-4AFA-BEF6-8B6D03DE3CFE}"/>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EEB4EFA7-0F0C-4365-AC60-BD498F52B8FE}" type="presOf" srcId="{05BCB79C-BFFC-40EA-AC08-07E846FCF786}" destId="{527787B6-C2E1-41AC-8A63-E0D44F6095FA}"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ACE7E8B8-AD19-4502-80DC-1E0EC3A3A83F}" type="presOf" srcId="{5261F5C2-903F-4994-916A-72A90DAE7F2D}" destId="{82B5BF8B-57A2-4E22-AA4A-CDE9EE34C77B}" srcOrd="0" destOrd="0" presId="urn:microsoft.com/office/officeart/2005/8/layout/hierarchy6"/>
    <dgm:cxn modelId="{D586C2C9-302C-44B9-B877-A5D71B695F8B}" type="presOf" srcId="{4ADED6B5-E565-4820-AA0B-8E50119B2A68}" destId="{F82B889D-DE37-40F0-8FFB-E4677B4D6302}"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F3C015D5-1779-4996-B522-94D19EDBB0F7}" type="presOf" srcId="{FAA45A8D-079A-4FAC-87D1-08D72268764D}" destId="{5CC0C396-8377-475C-A00D-7F8341A1F477}" srcOrd="0" destOrd="0" presId="urn:microsoft.com/office/officeart/2005/8/layout/hierarchy6"/>
    <dgm:cxn modelId="{91810EE0-6BCF-4263-AA2F-DB283FC2EB3D}" type="presOf" srcId="{9D361AED-F287-426D-889C-035A581FCAD4}" destId="{9B0BC5A7-6A70-41C3-871D-416E6CE7FB15}" srcOrd="0" destOrd="0" presId="urn:microsoft.com/office/officeart/2005/8/layout/hierarchy6"/>
    <dgm:cxn modelId="{EFC364E8-71F1-4B89-AE5A-2882920EF443}" srcId="{5E4D45D3-4EEE-44BF-BB04-85EB89632980}" destId="{270DB351-209F-44E3-AE5D-DD3AA05A8175}" srcOrd="0" destOrd="0" parTransId="{B2937768-267F-4FD0-B209-ADCABB3F2609}" sibTransId="{61AB407C-BF26-4766-9709-693A5355340D}"/>
    <dgm:cxn modelId="{1B504EE9-3243-4559-9F55-F693B856E65E}" srcId="{5E4D45D3-4EEE-44BF-BB04-85EB89632980}" destId="{05BCB79C-BFFC-40EA-AC08-07E846FCF786}" srcOrd="1" destOrd="0" parTransId="{65EFF804-408F-48C0-9772-30C0A76E5CEE}" sibTransId="{E05952B9-F3FF-4088-AB3E-BE9A831EDAA0}"/>
    <dgm:cxn modelId="{D3BC09EF-6CEA-42CE-B968-B9690400E296}" type="presOf" srcId="{2787F9B9-D9EE-40F6-ABD4-C13F268A8AF1}" destId="{4AC8CF5E-1D5D-4BBE-AAC6-1A65B9CD9224}" srcOrd="0" destOrd="0" presId="urn:microsoft.com/office/officeart/2005/8/layout/hierarchy6"/>
    <dgm:cxn modelId="{D200B0F0-AB86-4895-AE73-03EF4EF2AEEF}" type="presOf" srcId="{3CD5CFD3-BDE6-464E-A6B2-75C739BA359E}" destId="{A3135B42-D037-4853-9860-012953D934F7}"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21A9D5F9-2B4F-4172-8583-AAEE932CE60B}" type="presOf" srcId="{B2937768-267F-4FD0-B209-ADCABB3F2609}" destId="{5690923D-9059-4138-8ACF-90D405019F80}" srcOrd="0" destOrd="0" presId="urn:microsoft.com/office/officeart/2005/8/layout/hierarchy6"/>
    <dgm:cxn modelId="{8EE8B4FB-9F00-49F3-93F2-BD74E32AB9B4}" type="presOf" srcId="{7CC9B32C-12C5-4169-B087-595C8A48B4F8}" destId="{54FC7E62-6BC8-4117-AE83-F7D461A58C56}" srcOrd="0" destOrd="0" presId="urn:microsoft.com/office/officeart/2005/8/layout/hierarchy6"/>
    <dgm:cxn modelId="{CC5458FE-95C6-4C37-8189-0180F3CD5281}" type="presOf" srcId="{D84DD7AB-A1C4-4A77-B583-CCF2DADB3362}" destId="{A26B365E-E5E1-416D-9FD8-97105F38CB63}" srcOrd="0" destOrd="0" presId="urn:microsoft.com/office/officeart/2005/8/layout/hierarchy6"/>
    <dgm:cxn modelId="{98D4B4FE-4A0E-4B15-871B-3DADAF242C7A}" type="presOf" srcId="{65EFF804-408F-48C0-9772-30C0A76E5CEE}" destId="{810926B5-7D25-4DDF-8B56-5D578BE910C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19CA976B-7889-46FA-88DE-71168301CA77}" type="presParOf" srcId="{A65EEE17-B142-4395-9440-82681C1ADA87}" destId="{2A969FB1-A0CA-4BCB-9811-B1C2A2D37CF2}" srcOrd="0" destOrd="0" presId="urn:microsoft.com/office/officeart/2005/8/layout/hierarchy6"/>
    <dgm:cxn modelId="{9C722C92-0BBC-4F7F-BC96-BA2D6C900645}" type="presParOf" srcId="{A65EEE17-B142-4395-9440-82681C1ADA87}" destId="{C3EFDF95-9A92-436A-B74A-D10E620D8558}" srcOrd="1" destOrd="0" presId="urn:microsoft.com/office/officeart/2005/8/layout/hierarchy6"/>
    <dgm:cxn modelId="{6635368F-5C50-48D5-A094-DF3DD893A99C}" type="presParOf" srcId="{C3EFDF95-9A92-436A-B74A-D10E620D8558}" destId="{4AC8CF5E-1D5D-4BBE-AAC6-1A65B9CD9224}" srcOrd="0" destOrd="0" presId="urn:microsoft.com/office/officeart/2005/8/layout/hierarchy6"/>
    <dgm:cxn modelId="{746884A4-3E2D-4236-9B60-8B1BF9B9D752}" type="presParOf" srcId="{C3EFDF95-9A92-436A-B74A-D10E620D8558}" destId="{4C118CD9-0F4D-4592-8997-BCE0C79E8E72}" srcOrd="1" destOrd="0" presId="urn:microsoft.com/office/officeart/2005/8/layout/hierarchy6"/>
    <dgm:cxn modelId="{804EA86D-2279-426A-B804-4E508811E39B}" type="presParOf" srcId="{4C118CD9-0F4D-4592-8997-BCE0C79E8E72}" destId="{9B0BC5A7-6A70-41C3-871D-416E6CE7FB15}" srcOrd="0" destOrd="0" presId="urn:microsoft.com/office/officeart/2005/8/layout/hierarchy6"/>
    <dgm:cxn modelId="{83BAB58D-DB5F-483A-A499-DA647D2A7E74}" type="presParOf" srcId="{4C118CD9-0F4D-4592-8997-BCE0C79E8E72}" destId="{82EC63D1-694F-4FFF-9E6D-6674B591884B}" srcOrd="1" destOrd="0" presId="urn:microsoft.com/office/officeart/2005/8/layout/hierarchy6"/>
    <dgm:cxn modelId="{D4E70B1E-7373-4956-B665-5CB483EBA01D}" type="presParOf" srcId="{82EC63D1-694F-4FFF-9E6D-6674B591884B}" destId="{A26B365E-E5E1-416D-9FD8-97105F38CB63}" srcOrd="0" destOrd="0" presId="urn:microsoft.com/office/officeart/2005/8/layout/hierarchy6"/>
    <dgm:cxn modelId="{9A73A220-1999-4634-A51B-26A9862F7FD6}" type="presParOf" srcId="{82EC63D1-694F-4FFF-9E6D-6674B591884B}" destId="{D32E83C3-191F-40F1-AF6A-A970805EBE25}" srcOrd="1" destOrd="0" presId="urn:microsoft.com/office/officeart/2005/8/layout/hierarchy6"/>
    <dgm:cxn modelId="{D291F541-5C10-4BC8-AE13-F58FE19111A7}" type="presParOf" srcId="{4C118CD9-0F4D-4592-8997-BCE0C79E8E72}" destId="{52433208-80E6-4924-B192-66BA710CE757}" srcOrd="2" destOrd="0" presId="urn:microsoft.com/office/officeart/2005/8/layout/hierarchy6"/>
    <dgm:cxn modelId="{B1376EA0-F06D-4D70-A1A7-A6308192A396}" type="presParOf" srcId="{4C118CD9-0F4D-4592-8997-BCE0C79E8E72}" destId="{74EF38D0-35A5-46DE-BF51-2FE421E3C217}" srcOrd="3" destOrd="0" presId="urn:microsoft.com/office/officeart/2005/8/layout/hierarchy6"/>
    <dgm:cxn modelId="{601F0275-C593-4098-A02B-63E5AF162ADF}" type="presParOf" srcId="{74EF38D0-35A5-46DE-BF51-2FE421E3C217}" destId="{B4399AFE-2603-47B7-BCBC-A239B44C86F5}" srcOrd="0" destOrd="0" presId="urn:microsoft.com/office/officeart/2005/8/layout/hierarchy6"/>
    <dgm:cxn modelId="{48C1B2D0-46B5-46E7-978C-2468E0C976A5}" type="presParOf" srcId="{74EF38D0-35A5-46DE-BF51-2FE421E3C217}" destId="{B89EE319-8A68-4B6F-A445-40F4B0A04EE8}" srcOrd="1" destOrd="0" presId="urn:microsoft.com/office/officeart/2005/8/layout/hierarchy6"/>
    <dgm:cxn modelId="{2A06FEF0-BCA7-4591-916B-7ED94D05FBA2}" type="presParOf" srcId="{4C118CD9-0F4D-4592-8997-BCE0C79E8E72}" destId="{BF248486-F648-4871-903F-93B482640036}" srcOrd="4" destOrd="0" presId="urn:microsoft.com/office/officeart/2005/8/layout/hierarchy6"/>
    <dgm:cxn modelId="{35740144-D3B0-4EF1-9B60-3AC5B25FA89B}" type="presParOf" srcId="{4C118CD9-0F4D-4592-8997-BCE0C79E8E72}" destId="{6FE122D2-6752-431D-8724-80CE50A9C31E}" srcOrd="5" destOrd="0" presId="urn:microsoft.com/office/officeart/2005/8/layout/hierarchy6"/>
    <dgm:cxn modelId="{AE17197E-CDF0-441F-9B31-EA8D14C2EC11}" type="presParOf" srcId="{6FE122D2-6752-431D-8724-80CE50A9C31E}" destId="{01027D77-40B4-492F-B9BC-73968B2B92A0}" srcOrd="0" destOrd="0" presId="urn:microsoft.com/office/officeart/2005/8/layout/hierarchy6"/>
    <dgm:cxn modelId="{EC9BDDC5-7ED9-4E92-AB8E-AC0C6E6B66A9}" type="presParOf" srcId="{6FE122D2-6752-431D-8724-80CE50A9C31E}" destId="{6E2C3CF8-B46E-4FFF-82FC-557F555F00ED}" srcOrd="1" destOrd="0" presId="urn:microsoft.com/office/officeart/2005/8/layout/hierarchy6"/>
    <dgm:cxn modelId="{70E9D8A1-5CED-409A-A46E-2A5F01B9B0EB}" type="presParOf" srcId="{6E2C3CF8-B46E-4FFF-82FC-557F555F00ED}" destId="{5690923D-9059-4138-8ACF-90D405019F80}" srcOrd="0" destOrd="0" presId="urn:microsoft.com/office/officeart/2005/8/layout/hierarchy6"/>
    <dgm:cxn modelId="{595653C3-4FC1-46DC-9381-525E772574A9}" type="presParOf" srcId="{6E2C3CF8-B46E-4FFF-82FC-557F555F00ED}" destId="{2A332E69-B5C0-4A68-B4C3-29696724CD01}" srcOrd="1" destOrd="0" presId="urn:microsoft.com/office/officeart/2005/8/layout/hierarchy6"/>
    <dgm:cxn modelId="{49150F22-75D2-4F66-9530-9C55CEA405D3}" type="presParOf" srcId="{2A332E69-B5C0-4A68-B4C3-29696724CD01}" destId="{8F552DA2-FC5B-40D6-B601-DCA076FAF8FB}" srcOrd="0" destOrd="0" presId="urn:microsoft.com/office/officeart/2005/8/layout/hierarchy6"/>
    <dgm:cxn modelId="{3A2A4292-B85A-43C5-969C-3597616AF2B1}" type="presParOf" srcId="{2A332E69-B5C0-4A68-B4C3-29696724CD01}" destId="{330902C9-A030-4F0E-8F44-4D46DA5BCFB1}" srcOrd="1" destOrd="0" presId="urn:microsoft.com/office/officeart/2005/8/layout/hierarchy6"/>
    <dgm:cxn modelId="{3ED61304-FCEF-4412-B47E-54EFC8E668D8}" type="presParOf" srcId="{6E2C3CF8-B46E-4FFF-82FC-557F555F00ED}" destId="{810926B5-7D25-4DDF-8B56-5D578BE910C7}" srcOrd="2" destOrd="0" presId="urn:microsoft.com/office/officeart/2005/8/layout/hierarchy6"/>
    <dgm:cxn modelId="{CBB7D5C2-A1BE-4081-90C8-0613EE908188}" type="presParOf" srcId="{6E2C3CF8-B46E-4FFF-82FC-557F555F00ED}" destId="{DCFF6636-F58C-477D-8963-805BCD844A5F}" srcOrd="3" destOrd="0" presId="urn:microsoft.com/office/officeart/2005/8/layout/hierarchy6"/>
    <dgm:cxn modelId="{46A9D569-44FB-4603-A1DE-3749D71666DA}" type="presParOf" srcId="{DCFF6636-F58C-477D-8963-805BCD844A5F}" destId="{527787B6-C2E1-41AC-8A63-E0D44F6095FA}" srcOrd="0" destOrd="0" presId="urn:microsoft.com/office/officeart/2005/8/layout/hierarchy6"/>
    <dgm:cxn modelId="{96881E38-D756-4564-B615-FB9DDE54BA4F}" type="presParOf" srcId="{DCFF6636-F58C-477D-8963-805BCD844A5F}" destId="{89915CAD-8C75-4E3F-960D-6AB98D0B74F4}" srcOrd="1" destOrd="0" presId="urn:microsoft.com/office/officeart/2005/8/layout/hierarchy6"/>
    <dgm:cxn modelId="{5ACEBE39-C8F9-4D9D-B65C-29ACC33CB00B}" type="presParOf" srcId="{6E2C3CF8-B46E-4FFF-82FC-557F555F00ED}" destId="{5CC0C396-8377-475C-A00D-7F8341A1F477}" srcOrd="4" destOrd="0" presId="urn:microsoft.com/office/officeart/2005/8/layout/hierarchy6"/>
    <dgm:cxn modelId="{22E2DF70-B8DA-4A06-9B01-D93E0D69202A}" type="presParOf" srcId="{6E2C3CF8-B46E-4FFF-82FC-557F555F00ED}" destId="{20755089-D219-4FE9-8B97-A1923491F114}" srcOrd="5" destOrd="0" presId="urn:microsoft.com/office/officeart/2005/8/layout/hierarchy6"/>
    <dgm:cxn modelId="{C4244724-E8AB-4C0E-BCB2-D3E6F03C1423}" type="presParOf" srcId="{20755089-D219-4FE9-8B97-A1923491F114}" destId="{82B5BF8B-57A2-4E22-AA4A-CDE9EE34C77B}" srcOrd="0" destOrd="0" presId="urn:microsoft.com/office/officeart/2005/8/layout/hierarchy6"/>
    <dgm:cxn modelId="{97FB66B7-63D9-48A5-8477-402E8D0FB8D8}" type="presParOf" srcId="{20755089-D219-4FE9-8B97-A1923491F114}" destId="{65955D25-5FF5-4C6B-92DA-30B6843FBE65}" srcOrd="1" destOrd="0" presId="urn:microsoft.com/office/officeart/2005/8/layout/hierarchy6"/>
    <dgm:cxn modelId="{675E7011-6AA8-4F53-9881-3A5C65D311B5}" type="presParOf" srcId="{4C118CD9-0F4D-4592-8997-BCE0C79E8E72}" destId="{D0464A9B-83F7-4A2D-94B3-57ED5F3C091B}" srcOrd="6" destOrd="0" presId="urn:microsoft.com/office/officeart/2005/8/layout/hierarchy6"/>
    <dgm:cxn modelId="{5814AC90-5C46-44C9-80F7-DD57F876A51A}" type="presParOf" srcId="{4C118CD9-0F4D-4592-8997-BCE0C79E8E72}" destId="{EDF5D77A-4E31-4D23-9F30-FCF2FFED1E70}" srcOrd="7" destOrd="0" presId="urn:microsoft.com/office/officeart/2005/8/layout/hierarchy6"/>
    <dgm:cxn modelId="{36B17E52-3FAA-4620-BD52-FD4A5AA158DE}" type="presParOf" srcId="{EDF5D77A-4E31-4D23-9F30-FCF2FFED1E70}" destId="{F97BDF46-D920-42CC-AE1D-3430A1C11D9E}" srcOrd="0" destOrd="0" presId="urn:microsoft.com/office/officeart/2005/8/layout/hierarchy6"/>
    <dgm:cxn modelId="{4EF6AA15-284C-4ACF-A991-D31F4F899255}" type="presParOf" srcId="{EDF5D77A-4E31-4D23-9F30-FCF2FFED1E70}" destId="{09D64436-1B52-4BBB-9DC6-394FE685D216}" srcOrd="1" destOrd="0" presId="urn:microsoft.com/office/officeart/2005/8/layout/hierarchy6"/>
    <dgm:cxn modelId="{B1ED6C3A-2A56-4D1A-A7DB-DDEC41C98572}" type="presParOf" srcId="{4C118CD9-0F4D-4592-8997-BCE0C79E8E72}" destId="{BC3E3219-39C3-4268-83EE-67E130107410}" srcOrd="8" destOrd="0" presId="urn:microsoft.com/office/officeart/2005/8/layout/hierarchy6"/>
    <dgm:cxn modelId="{A7441902-5257-4D6E-9972-BA73F25D1390}" type="presParOf" srcId="{4C118CD9-0F4D-4592-8997-BCE0C79E8E72}" destId="{C0E1C8F5-8309-4D4E-8059-B9DE3FF0655D}" srcOrd="9" destOrd="0" presId="urn:microsoft.com/office/officeart/2005/8/layout/hierarchy6"/>
    <dgm:cxn modelId="{4EC52375-2D0D-4885-882C-1FD0720B3AF0}" type="presParOf" srcId="{C0E1C8F5-8309-4D4E-8059-B9DE3FF0655D}" destId="{1FCB1E33-4F48-4A78-8612-EB7710CE8354}" srcOrd="0" destOrd="0" presId="urn:microsoft.com/office/officeart/2005/8/layout/hierarchy6"/>
    <dgm:cxn modelId="{7F7A51D4-70FD-4805-9C84-D8A3246C3A59}" type="presParOf" srcId="{C0E1C8F5-8309-4D4E-8059-B9DE3FF0655D}" destId="{8AFE89C8-F601-4215-9EB3-699FC4157F3F}" srcOrd="1" destOrd="0" presId="urn:microsoft.com/office/officeart/2005/8/layout/hierarchy6"/>
    <dgm:cxn modelId="{353D24E6-5290-4293-91DE-3D3983568F6E}" type="presParOf" srcId="{A65EEE17-B142-4395-9440-82681C1ADA87}" destId="{54FE398B-EB4B-4376-8CAD-D5884C340DB3}" srcOrd="2" destOrd="0" presId="urn:microsoft.com/office/officeart/2005/8/layout/hierarchy6"/>
    <dgm:cxn modelId="{548B0342-3944-40CA-8C73-5DD5EF7718D9}" type="presParOf" srcId="{A65EEE17-B142-4395-9440-82681C1ADA87}" destId="{340CDDD0-A67E-4157-8216-8DBB2B39CE6F}" srcOrd="3"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4" destOrd="0" presId="urn:microsoft.com/office/officeart/2005/8/layout/hierarchy6"/>
    <dgm:cxn modelId="{7E0FA62D-D0F3-4E5E-92EE-6EFA63C03AE6}" type="presParOf" srcId="{A65EEE17-B142-4395-9440-82681C1ADA87}" destId="{31CDE861-2E03-41FC-BAB0-7E58EF755624}" srcOrd="5"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6" destOrd="0" presId="urn:microsoft.com/office/officeart/2005/8/layout/hierarchy6"/>
    <dgm:cxn modelId="{A41DD5E4-92FB-4361-852F-8D76BC59B8DC}" type="presParOf" srcId="{A65EEE17-B142-4395-9440-82681C1ADA87}" destId="{D42A201D-B7E7-4CD9-9B50-D25D27FE443E}" srcOrd="7"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8" destOrd="0" presId="urn:microsoft.com/office/officeart/2005/8/layout/hierarchy6"/>
    <dgm:cxn modelId="{CFD5268B-1B30-4140-870E-E0D505D5F88B}" type="presParOf" srcId="{A65EEE17-B142-4395-9440-82681C1ADA87}" destId="{C03833A0-38F9-4B9D-91CE-742AB1C3F9B8}" srcOrd="9"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2E4738FB-C789-41ED-AA58-5C49FCB5C310}" type="presParOf" srcId="{1C1DFDCA-7A9A-430B-9449-7A269E0F64BD}" destId="{A1CDEA6C-5A4D-425A-B7B4-C84037695A33}" srcOrd="2" destOrd="0" presId="urn:microsoft.com/office/officeart/2005/8/layout/hierarchy6"/>
    <dgm:cxn modelId="{05BDDDA5-8493-466D-975B-739D3E09619D}" type="presParOf" srcId="{1C1DFDCA-7A9A-430B-9449-7A269E0F64BD}" destId="{AEF55D57-FC7B-4B1E-BDC7-D235D7BD4A4D}" srcOrd="3" destOrd="0" presId="urn:microsoft.com/office/officeart/2005/8/layout/hierarchy6"/>
    <dgm:cxn modelId="{DA407C52-5905-4BA8-848A-3593FC3EB281}" type="presParOf" srcId="{AEF55D57-FC7B-4B1E-BDC7-D235D7BD4A4D}" destId="{512D3DA4-5AF8-45B2-9FCC-D6582DACED2F}" srcOrd="0" destOrd="0" presId="urn:microsoft.com/office/officeart/2005/8/layout/hierarchy6"/>
    <dgm:cxn modelId="{08D27574-B563-49CE-B5EC-58E07F3C3192}" type="presParOf" srcId="{AEF55D57-FC7B-4B1E-BDC7-D235D7BD4A4D}" destId="{A39338D9-A703-4E4A-A1F8-CD16D98D5C73}" srcOrd="1" destOrd="0" presId="urn:microsoft.com/office/officeart/2005/8/layout/hierarchy6"/>
    <dgm:cxn modelId="{49F95AB1-A69F-439E-ACE0-6EC000374AE4}" type="presParOf" srcId="{A65EEE17-B142-4395-9440-82681C1ADA87}" destId="{F82B889D-DE37-40F0-8FFB-E4677B4D6302}" srcOrd="10" destOrd="0" presId="urn:microsoft.com/office/officeart/2005/8/layout/hierarchy6"/>
    <dgm:cxn modelId="{6227FCCF-470D-452C-9848-907FE9A09222}" type="presParOf" srcId="{A65EEE17-B142-4395-9440-82681C1ADA87}" destId="{C73E9EF3-3718-4F35-84CF-58DA2AEB4ADB}" srcOrd="11" destOrd="0" presId="urn:microsoft.com/office/officeart/2005/8/layout/hierarchy6"/>
    <dgm:cxn modelId="{30FD2FAE-F065-49CD-8BF7-406A95F3A50A}" type="presParOf" srcId="{C73E9EF3-3718-4F35-84CF-58DA2AEB4ADB}" destId="{A3135B42-D037-4853-9860-012953D934F7}" srcOrd="0" destOrd="0" presId="urn:microsoft.com/office/officeart/2005/8/layout/hierarchy6"/>
    <dgm:cxn modelId="{E0243B31-5ECF-4B7E-85A8-87D41D48A176}" type="presParOf" srcId="{C73E9EF3-3718-4F35-84CF-58DA2AEB4ADB}" destId="{290BC9F3-5981-4A9D-8B4A-A1A33732E062}" srcOrd="1" destOrd="0" presId="urn:microsoft.com/office/officeart/2005/8/layout/hierarchy6"/>
    <dgm:cxn modelId="{34F61AD6-4EBA-463B-B2C4-870F74AE1E6B}" type="presParOf" srcId="{A65EEE17-B142-4395-9440-82681C1ADA87}" destId="{09C8B667-CAD7-4DC0-985B-9B8F058B52AE}" srcOrd="12" destOrd="0" presId="urn:microsoft.com/office/officeart/2005/8/layout/hierarchy6"/>
    <dgm:cxn modelId="{E4F0CECB-F69F-44A0-96B9-CE86A5AE5EAB}" type="presParOf" srcId="{A65EEE17-B142-4395-9440-82681C1ADA87}" destId="{C4B81743-A1FC-4FB3-8757-BC64C1740D2B}" srcOrd="13" destOrd="0" presId="urn:microsoft.com/office/officeart/2005/8/layout/hierarchy6"/>
    <dgm:cxn modelId="{43FBA80F-BECD-4604-A791-2B1B20C24512}" type="presParOf" srcId="{C4B81743-A1FC-4FB3-8757-BC64C1740D2B}" destId="{91731D73-B433-4ECC-937E-D3F66E307A04}" srcOrd="0" destOrd="0" presId="urn:microsoft.com/office/officeart/2005/8/layout/hierarchy6"/>
    <dgm:cxn modelId="{8DF1800F-3698-4D96-BD14-20A54E1FA7BD}" type="presParOf" srcId="{C4B81743-A1FC-4FB3-8757-BC64C1740D2B}" destId="{C4596AD7-D1B5-4631-997D-B312931C04C9}"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5CAC6E89-8D61-41CE-B485-D446E81BC557}" type="doc">
      <dgm:prSet loTypeId="urn:microsoft.com/office/officeart/2005/8/layout/vList2" loCatId="list" qsTypeId="urn:microsoft.com/office/officeart/2005/8/quickstyle/simple1" qsCatId="simple" csTypeId="urn:microsoft.com/office/officeart/2005/8/colors/colorful4" csCatId="colorful" phldr="1"/>
      <dgm:spPr/>
      <dgm:t>
        <a:bodyPr/>
        <a:lstStyle/>
        <a:p>
          <a:endParaRPr lang="en-US"/>
        </a:p>
      </dgm:t>
    </dgm:pt>
    <dgm:pt modelId="{FB9E8E93-E505-4F61-B986-63526300BB1E}">
      <dgm:prSet phldrT="[Text]" phldr="0"/>
      <dgm:spPr/>
      <dgm:t>
        <a:bodyPr/>
        <a:lstStyle/>
        <a:p>
          <a:r>
            <a:rPr lang="en-US" dirty="0" err="1"/>
            <a:t>Parameter_sensitive_plan_optimization_skipped_reason</a:t>
          </a:r>
          <a:endParaRPr lang="en-US" b="1" dirty="0"/>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0F9DB5A3-2155-414A-AA86-6C233571E85E}">
      <dgm:prSet/>
      <dgm:spPr/>
      <dgm:t>
        <a:bodyPr/>
        <a:lstStyle/>
        <a:p>
          <a:r>
            <a:rPr lang="en-US" dirty="0" err="1"/>
            <a:t>Parameter_sensitive_plan_optimization</a:t>
          </a:r>
          <a:r>
            <a:rPr lang="en-US" dirty="0"/>
            <a:t>:</a:t>
          </a:r>
        </a:p>
      </dgm:t>
    </dgm:pt>
    <dgm:pt modelId="{DA4F1DA1-ED6E-4DBE-AE0D-965DF50324F9}" type="parTrans" cxnId="{268FFE69-0EAB-41C6-BCE4-951328BB77F8}">
      <dgm:prSet/>
      <dgm:spPr/>
      <dgm:t>
        <a:bodyPr/>
        <a:lstStyle/>
        <a:p>
          <a:endParaRPr lang="en-US"/>
        </a:p>
      </dgm:t>
    </dgm:pt>
    <dgm:pt modelId="{3A70384B-BF68-4D0B-BA97-6A7B2BBD6527}" type="sibTrans" cxnId="{268FFE69-0EAB-41C6-BCE4-951328BB77F8}">
      <dgm:prSet/>
      <dgm:spPr/>
      <dgm:t>
        <a:bodyPr/>
        <a:lstStyle/>
        <a:p>
          <a:endParaRPr lang="en-US"/>
        </a:p>
      </dgm:t>
    </dgm:pt>
    <dgm:pt modelId="{0D0D0A53-389D-4047-9AB7-980A5AC926D8}">
      <dgm:prSet/>
      <dgm:spPr/>
      <dgm:t>
        <a:bodyPr/>
        <a:lstStyle/>
        <a:p>
          <a:r>
            <a:rPr lang="en-US" dirty="0" err="1"/>
            <a:t>Parameter_sensitive_plan_testing</a:t>
          </a:r>
          <a:r>
            <a:rPr lang="en-US" dirty="0"/>
            <a:t>:</a:t>
          </a:r>
        </a:p>
      </dgm:t>
    </dgm:pt>
    <dgm:pt modelId="{C0E46E2A-C700-41B5-89F6-A821C727CCDC}" type="parTrans" cxnId="{A1121346-C081-4D80-BB40-AFDB3B31ECCA}">
      <dgm:prSet/>
      <dgm:spPr/>
      <dgm:t>
        <a:bodyPr/>
        <a:lstStyle/>
        <a:p>
          <a:endParaRPr lang="en-US"/>
        </a:p>
      </dgm:t>
    </dgm:pt>
    <dgm:pt modelId="{CB6F43CD-31ED-4D20-9429-4C51C192E4A1}" type="sibTrans" cxnId="{A1121346-C081-4D80-BB40-AFDB3B31ECCA}">
      <dgm:prSet/>
      <dgm:spPr/>
      <dgm:t>
        <a:bodyPr/>
        <a:lstStyle/>
        <a:p>
          <a:endParaRPr lang="en-US"/>
        </a:p>
      </dgm:t>
    </dgm:pt>
    <dgm:pt modelId="{A0361289-0731-4E98-9D6A-BC08CDC73747}">
      <dgm:prSet phldrT="[Text]" phldr="0"/>
      <dgm:spPr/>
      <dgm:t>
        <a:bodyPr/>
        <a:lstStyle/>
        <a:p>
          <a:r>
            <a:rPr lang="en-US" dirty="0"/>
            <a:t>Occurs when the parameter sensitive plan feature is skipped..</a:t>
          </a:r>
          <a:endParaRPr lang="en-US" b="1" dirty="0"/>
        </a:p>
      </dgm:t>
    </dgm:pt>
    <dgm:pt modelId="{35318717-4BC8-4ACD-A3EB-2DEA903224CA}" type="parTrans" cxnId="{E684856C-A7CF-499C-91FB-A0893E10A394}">
      <dgm:prSet/>
      <dgm:spPr/>
      <dgm:t>
        <a:bodyPr/>
        <a:lstStyle/>
        <a:p>
          <a:endParaRPr lang="en-US"/>
        </a:p>
      </dgm:t>
    </dgm:pt>
    <dgm:pt modelId="{8CD1B2AD-87A1-4EDC-A92D-0F4E887ED202}" type="sibTrans" cxnId="{E684856C-A7CF-499C-91FB-A0893E10A394}">
      <dgm:prSet/>
      <dgm:spPr/>
      <dgm:t>
        <a:bodyPr/>
        <a:lstStyle/>
        <a:p>
          <a:endParaRPr lang="en-US"/>
        </a:p>
      </dgm:t>
    </dgm:pt>
    <dgm:pt modelId="{B7C47675-72E9-4F2F-8592-3DAD5627B640}">
      <dgm:prSet/>
      <dgm:spPr/>
      <dgm:t>
        <a:bodyPr/>
        <a:lstStyle/>
        <a:p>
          <a:r>
            <a:rPr lang="en-US"/>
            <a:t>Occurs </a:t>
          </a:r>
          <a:r>
            <a:rPr lang="en-US" dirty="0"/>
            <a:t>when a query uses Parameter Sensitive Plan (PSP) Optimization feature. Debug channel only.</a:t>
          </a:r>
        </a:p>
      </dgm:t>
    </dgm:pt>
    <dgm:pt modelId="{D650041E-0245-4FAF-84A1-1B57C8A9F296}" type="parTrans" cxnId="{8C017571-F5ED-4546-AD0A-33CC92582207}">
      <dgm:prSet/>
      <dgm:spPr/>
      <dgm:t>
        <a:bodyPr/>
        <a:lstStyle/>
        <a:p>
          <a:endParaRPr lang="en-US"/>
        </a:p>
      </dgm:t>
    </dgm:pt>
    <dgm:pt modelId="{665B7592-9820-4513-99C4-73449ADBFA63}" type="sibTrans" cxnId="{8C017571-F5ED-4546-AD0A-33CC92582207}">
      <dgm:prSet/>
      <dgm:spPr/>
      <dgm:t>
        <a:bodyPr/>
        <a:lstStyle/>
        <a:p>
          <a:endParaRPr lang="en-US"/>
        </a:p>
      </dgm:t>
    </dgm:pt>
    <dgm:pt modelId="{E5635E3F-4EEE-44CC-9E7F-20F4C391CF31}">
      <dgm:prSet/>
      <dgm:spPr/>
      <dgm:t>
        <a:bodyPr/>
        <a:lstStyle/>
        <a:p>
          <a:r>
            <a:rPr lang="en-US"/>
            <a:t>Occurs </a:t>
          </a:r>
          <a:r>
            <a:rPr lang="en-US" dirty="0"/>
            <a:t>when parameter-sensitive plan is tested. Debug channel only.</a:t>
          </a:r>
        </a:p>
      </dgm:t>
    </dgm:pt>
    <dgm:pt modelId="{513EA134-B18B-4048-AF8F-AA0D47521FF7}" type="parTrans" cxnId="{B0109DE8-82F6-4C0F-9639-F5B14F9E02E5}">
      <dgm:prSet/>
      <dgm:spPr/>
      <dgm:t>
        <a:bodyPr/>
        <a:lstStyle/>
        <a:p>
          <a:endParaRPr lang="en-US"/>
        </a:p>
      </dgm:t>
    </dgm:pt>
    <dgm:pt modelId="{0EAC3854-4E8E-45D9-93E9-4E5692A340F6}" type="sibTrans" cxnId="{B0109DE8-82F6-4C0F-9639-F5B14F9E02E5}">
      <dgm:prSet/>
      <dgm:spPr/>
      <dgm:t>
        <a:bodyPr/>
        <a:lstStyle/>
        <a:p>
          <a:endParaRPr lang="en-US"/>
        </a:p>
      </dgm:t>
    </dgm:pt>
    <dgm:pt modelId="{7A91A4FC-4ED9-41B2-9B83-09BE415FCECF}" type="pres">
      <dgm:prSet presAssocID="{5CAC6E89-8D61-41CE-B485-D446E81BC557}" presName="linear" presStyleCnt="0">
        <dgm:presLayoutVars>
          <dgm:animLvl val="lvl"/>
          <dgm:resizeHandles val="exact"/>
        </dgm:presLayoutVars>
      </dgm:prSet>
      <dgm:spPr/>
    </dgm:pt>
    <dgm:pt modelId="{44CFF34A-7C23-4C2F-B398-F47637EF0A18}" type="pres">
      <dgm:prSet presAssocID="{FB9E8E93-E505-4F61-B986-63526300BB1E}" presName="parentText" presStyleLbl="node1" presStyleIdx="0" presStyleCnt="3">
        <dgm:presLayoutVars>
          <dgm:chMax val="0"/>
          <dgm:bulletEnabled val="1"/>
        </dgm:presLayoutVars>
      </dgm:prSet>
      <dgm:spPr/>
    </dgm:pt>
    <dgm:pt modelId="{80B6136C-4075-4D91-8D5B-EEA230089223}" type="pres">
      <dgm:prSet presAssocID="{FB9E8E93-E505-4F61-B986-63526300BB1E}" presName="childText" presStyleLbl="revTx" presStyleIdx="0" presStyleCnt="3">
        <dgm:presLayoutVars>
          <dgm:bulletEnabled val="1"/>
        </dgm:presLayoutVars>
      </dgm:prSet>
      <dgm:spPr/>
    </dgm:pt>
    <dgm:pt modelId="{387077CA-E34D-4CF6-800C-BB87D79B075E}" type="pres">
      <dgm:prSet presAssocID="{0F9DB5A3-2155-414A-AA86-6C233571E85E}" presName="parentText" presStyleLbl="node1" presStyleIdx="1" presStyleCnt="3">
        <dgm:presLayoutVars>
          <dgm:chMax val="0"/>
          <dgm:bulletEnabled val="1"/>
        </dgm:presLayoutVars>
      </dgm:prSet>
      <dgm:spPr/>
    </dgm:pt>
    <dgm:pt modelId="{E3F7E14E-201A-4375-BB04-FA8C7D3D3F19}" type="pres">
      <dgm:prSet presAssocID="{0F9DB5A3-2155-414A-AA86-6C233571E85E}" presName="childText" presStyleLbl="revTx" presStyleIdx="1" presStyleCnt="3">
        <dgm:presLayoutVars>
          <dgm:bulletEnabled val="1"/>
        </dgm:presLayoutVars>
      </dgm:prSet>
      <dgm:spPr/>
    </dgm:pt>
    <dgm:pt modelId="{F3209C2C-D313-4222-AF9C-05DC0314ED39}" type="pres">
      <dgm:prSet presAssocID="{0D0D0A53-389D-4047-9AB7-980A5AC926D8}" presName="parentText" presStyleLbl="node1" presStyleIdx="2" presStyleCnt="3">
        <dgm:presLayoutVars>
          <dgm:chMax val="0"/>
          <dgm:bulletEnabled val="1"/>
        </dgm:presLayoutVars>
      </dgm:prSet>
      <dgm:spPr/>
    </dgm:pt>
    <dgm:pt modelId="{56BD2FA2-3023-48AF-BCA6-E9CD74AA0F7A}" type="pres">
      <dgm:prSet presAssocID="{0D0D0A53-389D-4047-9AB7-980A5AC926D8}" presName="childText" presStyleLbl="revTx" presStyleIdx="2" presStyleCnt="3">
        <dgm:presLayoutVars>
          <dgm:bulletEnabled val="1"/>
        </dgm:presLayoutVars>
      </dgm:prSet>
      <dgm:spPr/>
    </dgm:pt>
  </dgm:ptLst>
  <dgm:cxnLst>
    <dgm:cxn modelId="{A6CB5C09-C3DF-4D84-9198-F1AEF29EF3CD}" type="presOf" srcId="{A0361289-0731-4E98-9D6A-BC08CDC73747}" destId="{80B6136C-4075-4D91-8D5B-EEA230089223}" srcOrd="0" destOrd="0" presId="urn:microsoft.com/office/officeart/2005/8/layout/vList2"/>
    <dgm:cxn modelId="{BB0FB526-AA57-45E6-92E0-DBC578021571}" type="presOf" srcId="{0F9DB5A3-2155-414A-AA86-6C233571E85E}" destId="{387077CA-E34D-4CF6-800C-BB87D79B075E}" srcOrd="0" destOrd="0" presId="urn:microsoft.com/office/officeart/2005/8/layout/vList2"/>
    <dgm:cxn modelId="{50B68244-667E-4A60-9DBF-40708B2B7104}" srcId="{5CAC6E89-8D61-41CE-B485-D446E81BC557}" destId="{FB9E8E93-E505-4F61-B986-63526300BB1E}" srcOrd="0" destOrd="0" parTransId="{0A28C454-11D4-48BA-B856-5DF1A51C6CA8}" sibTransId="{D0DB3B49-9806-45F0-815F-F683F3A245D5}"/>
    <dgm:cxn modelId="{A1121346-C081-4D80-BB40-AFDB3B31ECCA}" srcId="{5CAC6E89-8D61-41CE-B485-D446E81BC557}" destId="{0D0D0A53-389D-4047-9AB7-980A5AC926D8}" srcOrd="2" destOrd="0" parTransId="{C0E46E2A-C700-41B5-89F6-A821C727CCDC}" sibTransId="{CB6F43CD-31ED-4D20-9429-4C51C192E4A1}"/>
    <dgm:cxn modelId="{268FFE69-0EAB-41C6-BCE4-951328BB77F8}" srcId="{5CAC6E89-8D61-41CE-B485-D446E81BC557}" destId="{0F9DB5A3-2155-414A-AA86-6C233571E85E}" srcOrd="1" destOrd="0" parTransId="{DA4F1DA1-ED6E-4DBE-AE0D-965DF50324F9}" sibTransId="{3A70384B-BF68-4D0B-BA97-6A7B2BBD6527}"/>
    <dgm:cxn modelId="{E684856C-A7CF-499C-91FB-A0893E10A394}" srcId="{FB9E8E93-E505-4F61-B986-63526300BB1E}" destId="{A0361289-0731-4E98-9D6A-BC08CDC73747}" srcOrd="0" destOrd="0" parTransId="{35318717-4BC8-4ACD-A3EB-2DEA903224CA}" sibTransId="{8CD1B2AD-87A1-4EDC-A92D-0F4E887ED202}"/>
    <dgm:cxn modelId="{4E0ACF4E-7CBE-438E-9BED-EE84B63C1AF9}" type="presOf" srcId="{5CAC6E89-8D61-41CE-B485-D446E81BC557}" destId="{7A91A4FC-4ED9-41B2-9B83-09BE415FCECF}" srcOrd="0" destOrd="0" presId="urn:microsoft.com/office/officeart/2005/8/layout/vList2"/>
    <dgm:cxn modelId="{8C017571-F5ED-4546-AD0A-33CC92582207}" srcId="{0F9DB5A3-2155-414A-AA86-6C233571E85E}" destId="{B7C47675-72E9-4F2F-8592-3DAD5627B640}" srcOrd="0" destOrd="0" parTransId="{D650041E-0245-4FAF-84A1-1B57C8A9F296}" sibTransId="{665B7592-9820-4513-99C4-73449ADBFA63}"/>
    <dgm:cxn modelId="{D2B9A252-4CFF-4626-BDA7-764ED4A4B2A2}" type="presOf" srcId="{FB9E8E93-E505-4F61-B986-63526300BB1E}" destId="{44CFF34A-7C23-4C2F-B398-F47637EF0A18}" srcOrd="0" destOrd="0" presId="urn:microsoft.com/office/officeart/2005/8/layout/vList2"/>
    <dgm:cxn modelId="{D874CF55-12DD-4916-8777-334FCC3D3B7F}" type="presOf" srcId="{B7C47675-72E9-4F2F-8592-3DAD5627B640}" destId="{E3F7E14E-201A-4375-BB04-FA8C7D3D3F19}" srcOrd="0" destOrd="0" presId="urn:microsoft.com/office/officeart/2005/8/layout/vList2"/>
    <dgm:cxn modelId="{94E3F888-7A8C-45B1-A15A-96366A3EA624}" type="presOf" srcId="{0D0D0A53-389D-4047-9AB7-980A5AC926D8}" destId="{F3209C2C-D313-4222-AF9C-05DC0314ED39}" srcOrd="0" destOrd="0" presId="urn:microsoft.com/office/officeart/2005/8/layout/vList2"/>
    <dgm:cxn modelId="{ADA241B1-E921-42DD-B715-7BF2C24D8104}" type="presOf" srcId="{E5635E3F-4EEE-44CC-9E7F-20F4C391CF31}" destId="{56BD2FA2-3023-48AF-BCA6-E9CD74AA0F7A}" srcOrd="0" destOrd="0" presId="urn:microsoft.com/office/officeart/2005/8/layout/vList2"/>
    <dgm:cxn modelId="{B0109DE8-82F6-4C0F-9639-F5B14F9E02E5}" srcId="{0D0D0A53-389D-4047-9AB7-980A5AC926D8}" destId="{E5635E3F-4EEE-44CC-9E7F-20F4C391CF31}" srcOrd="0" destOrd="0" parTransId="{513EA134-B18B-4048-AF8F-AA0D47521FF7}" sibTransId="{0EAC3854-4E8E-45D9-93E9-4E5692A340F6}"/>
    <dgm:cxn modelId="{63651FE2-F07C-48DF-9EDA-4325077B3F40}" type="presParOf" srcId="{7A91A4FC-4ED9-41B2-9B83-09BE415FCECF}" destId="{44CFF34A-7C23-4C2F-B398-F47637EF0A18}" srcOrd="0" destOrd="0" presId="urn:microsoft.com/office/officeart/2005/8/layout/vList2"/>
    <dgm:cxn modelId="{3A0996A8-2355-4D8B-A22C-F6E13DEE0A87}" type="presParOf" srcId="{7A91A4FC-4ED9-41B2-9B83-09BE415FCECF}" destId="{80B6136C-4075-4D91-8D5B-EEA230089223}" srcOrd="1" destOrd="0" presId="urn:microsoft.com/office/officeart/2005/8/layout/vList2"/>
    <dgm:cxn modelId="{C19C31E6-2372-44A4-9B95-FA2E41358195}" type="presParOf" srcId="{7A91A4FC-4ED9-41B2-9B83-09BE415FCECF}" destId="{387077CA-E34D-4CF6-800C-BB87D79B075E}" srcOrd="2" destOrd="0" presId="urn:microsoft.com/office/officeart/2005/8/layout/vList2"/>
    <dgm:cxn modelId="{427117EE-6872-43DE-A7F0-997F47D8CFC4}" type="presParOf" srcId="{7A91A4FC-4ED9-41B2-9B83-09BE415FCECF}" destId="{E3F7E14E-201A-4375-BB04-FA8C7D3D3F19}" srcOrd="3" destOrd="0" presId="urn:microsoft.com/office/officeart/2005/8/layout/vList2"/>
    <dgm:cxn modelId="{F994E4D2-3061-4F56-B83B-D1D31C106FB3}" type="presParOf" srcId="{7A91A4FC-4ED9-41B2-9B83-09BE415FCECF}" destId="{F3209C2C-D313-4222-AF9C-05DC0314ED39}" srcOrd="4" destOrd="0" presId="urn:microsoft.com/office/officeart/2005/8/layout/vList2"/>
    <dgm:cxn modelId="{862B7787-ADF2-402D-A0AA-025A970BB8C5}" type="presParOf" srcId="{7A91A4FC-4ED9-41B2-9B83-09BE415FCECF}" destId="{56BD2FA2-3023-48AF-BCA6-E9CD74AA0F7A}" srcOrd="5"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chemeClr val="tx2">
            <a:lumMod val="60000"/>
            <a:lumOff val="40000"/>
          </a:schemeClr>
        </a:solidFill>
      </dgm:spPr>
      <dgm:t>
        <a:bodyPr/>
        <a:lstStyle/>
        <a:p>
          <a:r>
            <a:rPr lang="en-US" dirty="0"/>
            <a:t>Feedback Persistenc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5E4D45D3-4EEE-44BF-BB04-85EB89632980}" type="asst">
      <dgm:prSet phldrT="[Text]"/>
      <dgm:spPr>
        <a:solidFill>
          <a:schemeClr val="accent5"/>
        </a:solidFill>
      </dgm:spPr>
      <dgm:t>
        <a:bodyPr/>
        <a:lstStyle/>
        <a:p>
          <a:r>
            <a:rPr lang="en-US" dirty="0"/>
            <a:t>Memory Grant Feedback</a:t>
          </a:r>
        </a:p>
      </dgm:t>
    </dgm:pt>
    <dgm:pt modelId="{B8064B35-238A-4C65-8D31-8EB550D8EE46}" type="parTrans" cxnId="{3B185282-4DAB-4C10-A7E7-21EEFCA76B4B}">
      <dgm:prSet/>
      <dgm:spPr/>
      <dgm:t>
        <a:bodyPr/>
        <a:lstStyle/>
        <a:p>
          <a:endParaRPr lang="en-US"/>
        </a:p>
      </dgm:t>
    </dgm:pt>
    <dgm:pt modelId="{65BAB6D8-2E20-414D-8678-C7623740EA0B}" type="sibTrans" cxnId="{3B185282-4DAB-4C10-A7E7-21EEFCA76B4B}">
      <dgm:prSet/>
      <dgm:spPr/>
      <dgm:t>
        <a:bodyPr/>
        <a:lstStyle/>
        <a:p>
          <a:endParaRPr lang="en-US"/>
        </a:p>
      </dgm:t>
    </dgm:pt>
    <dgm:pt modelId="{05BCB79C-BFFC-40EA-AC08-07E846FCF786}" type="asst">
      <dgm:prSet phldrT="[Text]"/>
      <dgm:spPr>
        <a:solidFill>
          <a:schemeClr val="accent6">
            <a:lumMod val="75000"/>
          </a:schemeClr>
        </a:solidFill>
      </dgm:spPr>
      <dgm:t>
        <a:bodyPr/>
        <a:lstStyle/>
        <a:p>
          <a:r>
            <a:rPr lang="en-US" dirty="0"/>
            <a:t>Row Mode</a:t>
          </a:r>
        </a:p>
      </dgm:t>
    </dgm:pt>
    <dgm:pt modelId="{65EFF804-408F-48C0-9772-30C0A76E5CEE}" type="parTrans" cxnId="{1B504EE9-3243-4559-9F55-F693B856E65E}">
      <dgm:prSet/>
      <dgm:spPr/>
      <dgm:t>
        <a:bodyPr/>
        <a:lstStyle/>
        <a:p>
          <a:endParaRPr lang="en-US"/>
        </a:p>
      </dgm:t>
    </dgm:pt>
    <dgm:pt modelId="{E05952B9-F3FF-4088-AB3E-BE9A831EDAA0}" type="sibTrans" cxnId="{1B504EE9-3243-4559-9F55-F693B856E65E}">
      <dgm:prSet/>
      <dgm:spPr/>
      <dgm:t>
        <a:bodyPr/>
        <a:lstStyle/>
        <a:p>
          <a:endParaRPr lang="en-US"/>
        </a:p>
      </dgm:t>
    </dgm:pt>
    <dgm:pt modelId="{28D1B84A-E065-40FD-BD5D-03D24AFCCF3D}" type="asst">
      <dgm:prSet phldrT="[Text]"/>
      <dgm:spPr>
        <a:solidFill>
          <a:schemeClr val="tx2">
            <a:lumMod val="60000"/>
            <a:lumOff val="40000"/>
          </a:schemeClr>
        </a:solidFill>
      </dgm:spPr>
      <dgm:t>
        <a:bodyPr/>
        <a:lstStyle/>
        <a:p>
          <a:r>
            <a:rPr lang="en-US" dirty="0"/>
            <a:t>Approximate Percentile</a:t>
          </a:r>
        </a:p>
      </dgm:t>
    </dgm:pt>
    <dgm:pt modelId="{4EE2EAB5-6A7E-48F2-98F8-E9C8AF624649}" type="parTrans" cxnId="{37A8C165-C989-4E4B-964F-EBE3360E6646}">
      <dgm:prSet/>
      <dgm:spPr/>
      <dgm:t>
        <a:bodyPr/>
        <a:lstStyle/>
        <a:p>
          <a:endParaRPr lang="en-US"/>
        </a:p>
      </dgm:t>
    </dgm:pt>
    <dgm:pt modelId="{34CF20BC-F95D-4F09-A4FE-EF010505E83B}" type="sibTrans" cxnId="{37A8C165-C989-4E4B-964F-EBE3360E6646}">
      <dgm:prSet/>
      <dgm:spPr/>
      <dgm:t>
        <a:bodyPr/>
        <a:lstStyle/>
        <a:p>
          <a:endParaRPr lang="en-US"/>
        </a:p>
      </dgm:t>
    </dgm:pt>
    <dgm:pt modelId="{716DC358-E50A-4465-9552-0F542C15068C}" type="asst">
      <dgm:prSet phldrT="[Text]"/>
      <dgm:spPr>
        <a:solidFill>
          <a:schemeClr val="tx2">
            <a:lumMod val="60000"/>
            <a:lumOff val="40000"/>
          </a:schemeClr>
        </a:solidFill>
      </dgm:spPr>
      <dgm:t>
        <a:bodyPr/>
        <a:lstStyle/>
        <a:p>
          <a:r>
            <a:rPr lang="en-US" dirty="0"/>
            <a:t>Parameter Sensitive Plan Optimization</a:t>
          </a:r>
        </a:p>
      </dgm:t>
    </dgm:pt>
    <dgm:pt modelId="{5E125E7F-2924-434E-8A12-D0BB81488294}" type="parTrans" cxnId="{7CC43844-8375-4BC3-BBEE-6822921E2991}">
      <dgm:prSet/>
      <dgm:spPr/>
      <dgm:t>
        <a:bodyPr/>
        <a:lstStyle/>
        <a:p>
          <a:endParaRPr lang="en-US"/>
        </a:p>
      </dgm:t>
    </dgm:pt>
    <dgm:pt modelId="{A72B7E00-C70C-42CA-9F52-F69093192028}" type="sibTrans" cxnId="{7CC43844-8375-4BC3-BBEE-6822921E2991}">
      <dgm:prSet/>
      <dgm:spPr/>
      <dgm:t>
        <a:bodyPr/>
        <a:lstStyle/>
        <a:p>
          <a:endParaRPr lang="en-US"/>
        </a:p>
      </dgm:t>
    </dgm:pt>
    <dgm:pt modelId="{861DEF92-2271-49BB-8DAC-23DA80D99B90}" type="asst">
      <dgm:prSet phldrT="[Text]"/>
      <dgm:spPr>
        <a:solidFill>
          <a:schemeClr val="tx2">
            <a:lumMod val="60000"/>
            <a:lumOff val="40000"/>
          </a:schemeClr>
        </a:solidFill>
      </dgm:spPr>
      <dgm:t>
        <a:bodyPr/>
        <a:lstStyle/>
        <a:p>
          <a:r>
            <a:rPr lang="en-US" dirty="0"/>
            <a:t>CE Feedback</a:t>
          </a:r>
        </a:p>
      </dgm:t>
    </dgm:pt>
    <dgm:pt modelId="{691A60E3-A9F1-4BB7-B61A-8AFCF7412C11}" type="parTrans" cxnId="{2FDF8B99-FC59-406B-A1FD-8AF9C9CEA3D4}">
      <dgm:prSet/>
      <dgm:spPr/>
      <dgm:t>
        <a:bodyPr/>
        <a:lstStyle/>
        <a:p>
          <a:endParaRPr lang="en-US"/>
        </a:p>
      </dgm:t>
    </dgm:pt>
    <dgm:pt modelId="{5CBBAEA1-BB2D-4AFA-BEF6-8B6D03DE3CFE}" type="sibTrans" cxnId="{2FDF8B99-FC59-406B-A1FD-8AF9C9CEA3D4}">
      <dgm:prSet/>
      <dgm:spPr/>
      <dgm:t>
        <a:bodyPr/>
        <a:lstStyle/>
        <a:p>
          <a:endParaRPr lang="en-US"/>
        </a:p>
      </dgm:t>
    </dgm:pt>
    <dgm:pt modelId="{B0CDA07E-75AA-4E21-B99D-9A7EC2AC2297}" type="asst">
      <dgm:prSet phldrT="[Text]"/>
      <dgm:spPr>
        <a:solidFill>
          <a:schemeClr val="tx2">
            <a:lumMod val="60000"/>
            <a:lumOff val="40000"/>
          </a:schemeClr>
        </a:solidFill>
      </dgm:spPr>
      <dgm:t>
        <a:bodyPr/>
        <a:lstStyle/>
        <a:p>
          <a:r>
            <a:rPr lang="en-US" dirty="0"/>
            <a:t>DOP Feedback</a:t>
          </a:r>
        </a:p>
      </dgm:t>
    </dgm:pt>
    <dgm:pt modelId="{27CC5377-3579-4E3E-8156-C39F82F5C364}" type="parTrans" cxnId="{0F56A91A-1153-4932-8504-5E62188AEAC8}">
      <dgm:prSet/>
      <dgm:spPr/>
      <dgm:t>
        <a:bodyPr/>
        <a:lstStyle/>
        <a:p>
          <a:endParaRPr lang="en-US"/>
        </a:p>
      </dgm:t>
    </dgm:pt>
    <dgm:pt modelId="{5F20F1D6-8A88-425A-800F-2A5B575C67AC}" type="sibTrans" cxnId="{0F56A91A-1153-4932-8504-5E62188AEAC8}">
      <dgm:prSet/>
      <dgm:spPr/>
      <dgm:t>
        <a:bodyPr/>
        <a:lstStyle/>
        <a:p>
          <a:endParaRPr lang="en-US"/>
        </a:p>
      </dgm:t>
    </dgm:pt>
    <dgm:pt modelId="{FBC9B00A-14CA-4397-B5FB-6750AAD47715}" type="asst">
      <dgm:prSet phldrT="[Text]"/>
      <dgm:spPr>
        <a:solidFill>
          <a:schemeClr val="tx2">
            <a:lumMod val="60000"/>
            <a:lumOff val="40000"/>
          </a:schemeClr>
        </a:solidFill>
      </dgm:spPr>
      <dgm:t>
        <a:bodyPr/>
        <a:lstStyle/>
        <a:p>
          <a:r>
            <a:rPr lang="en-US" dirty="0"/>
            <a:t>Optimized Plan Forcing</a:t>
          </a:r>
        </a:p>
      </dgm:t>
    </dgm:pt>
    <dgm:pt modelId="{22BF445F-7280-4C2A-9692-149DB32535DC}" type="parTrans" cxnId="{73EA0900-CE13-4A51-AA57-A6BF879D4F96}">
      <dgm:prSet/>
      <dgm:spPr/>
      <dgm:t>
        <a:bodyPr/>
        <a:lstStyle/>
        <a:p>
          <a:endParaRPr lang="en-US"/>
        </a:p>
      </dgm:t>
    </dgm:pt>
    <dgm:pt modelId="{D6BE2072-7069-4A66-89FF-9E6F8768036C}" type="sibTrans" cxnId="{73EA0900-CE13-4A51-AA57-A6BF879D4F96}">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2A969FB1-A0CA-4BCB-9811-B1C2A2D37CF2}" type="pres">
      <dgm:prSet presAssocID="{DAF4A804-FF79-40DF-805D-58E5C402C862}" presName="Name19" presStyleLbl="parChTrans1D2" presStyleIdx="0" presStyleCnt="7"/>
      <dgm:spPr/>
    </dgm:pt>
    <dgm:pt modelId="{C3EFDF95-9A92-436A-B74A-D10E620D8558}" type="pres">
      <dgm:prSet presAssocID="{2787F9B9-D9EE-40F6-ABD4-C13F268A8AF1}" presName="Name21" presStyleCnt="0"/>
      <dgm:spPr/>
    </dgm:pt>
    <dgm:pt modelId="{4AC8CF5E-1D5D-4BBE-AAC6-1A65B9CD9224}" type="pres">
      <dgm:prSet presAssocID="{2787F9B9-D9EE-40F6-ABD4-C13F268A8AF1}" presName="level2Shape" presStyleLbl="node2" presStyleIdx="0" presStyleCnt="1"/>
      <dgm:spPr/>
    </dgm:pt>
    <dgm:pt modelId="{4C118CD9-0F4D-4592-8997-BCE0C79E8E72}" type="pres">
      <dgm:prSet presAssocID="{2787F9B9-D9EE-40F6-ABD4-C13F268A8AF1}" presName="hierChild3" presStyleCnt="0"/>
      <dgm:spPr/>
    </dgm:pt>
    <dgm:pt modelId="{9B0BC5A7-6A70-41C3-871D-416E6CE7FB15}" type="pres">
      <dgm:prSet presAssocID="{9D361AED-F287-426D-889C-035A581FCAD4}" presName="Name19" presStyleLbl="parChTrans1D3" presStyleIdx="0" presStyleCnt="7"/>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2"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3" presStyleIdx="1" presStyleCnt="7"/>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2" presStyleIdx="1" presStyleCnt="8"/>
      <dgm:spPr/>
    </dgm:pt>
    <dgm:pt modelId="{B89EE319-8A68-4B6F-A445-40F4B0A04EE8}" type="pres">
      <dgm:prSet presAssocID="{8277FB8B-9D39-4CC5-BDEC-D3827308642F}" presName="hierChild3" presStyleCnt="0"/>
      <dgm:spPr/>
    </dgm:pt>
    <dgm:pt modelId="{BF248486-F648-4871-903F-93B482640036}" type="pres">
      <dgm:prSet presAssocID="{B8064B35-238A-4C65-8D31-8EB550D8EE46}" presName="Name19" presStyleLbl="parChTrans1D3" presStyleIdx="2" presStyleCnt="7"/>
      <dgm:spPr/>
    </dgm:pt>
    <dgm:pt modelId="{6FE122D2-6752-431D-8724-80CE50A9C31E}" type="pres">
      <dgm:prSet presAssocID="{5E4D45D3-4EEE-44BF-BB04-85EB89632980}" presName="Name21" presStyleCnt="0"/>
      <dgm:spPr/>
    </dgm:pt>
    <dgm:pt modelId="{01027D77-40B4-492F-B9BC-73968B2B92A0}" type="pres">
      <dgm:prSet presAssocID="{5E4D45D3-4EEE-44BF-BB04-85EB89632980}" presName="level2Shape" presStyleLbl="asst2" presStyleIdx="2" presStyleCnt="8"/>
      <dgm:spPr/>
    </dgm:pt>
    <dgm:pt modelId="{6E2C3CF8-B46E-4FFF-82FC-557F555F00ED}" type="pres">
      <dgm:prSet presAssocID="{5E4D45D3-4EEE-44BF-BB04-85EB89632980}" presName="hierChild3" presStyleCnt="0"/>
      <dgm:spPr/>
    </dgm:pt>
    <dgm:pt modelId="{5690923D-9059-4138-8ACF-90D405019F80}" type="pres">
      <dgm:prSet presAssocID="{B2937768-267F-4FD0-B209-ADCABB3F2609}" presName="Name19" presStyleLbl="parChTrans1D4"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2" presStyleIdx="3" presStyleCnt="8"/>
      <dgm:spPr/>
    </dgm:pt>
    <dgm:pt modelId="{330902C9-A030-4F0E-8F44-4D46DA5BCFB1}" type="pres">
      <dgm:prSet presAssocID="{270DB351-209F-44E3-AE5D-DD3AA05A8175}" presName="hierChild3" presStyleCnt="0"/>
      <dgm:spPr/>
    </dgm:pt>
    <dgm:pt modelId="{810926B5-7D25-4DDF-8B56-5D578BE910C7}" type="pres">
      <dgm:prSet presAssocID="{65EFF804-408F-48C0-9772-30C0A76E5CEE}" presName="Name19" presStyleLbl="parChTrans1D4" presStyleIdx="1" presStyleCnt="3"/>
      <dgm:spPr/>
    </dgm:pt>
    <dgm:pt modelId="{DCFF6636-F58C-477D-8963-805BCD844A5F}" type="pres">
      <dgm:prSet presAssocID="{05BCB79C-BFFC-40EA-AC08-07E846FCF786}" presName="Name21" presStyleCnt="0"/>
      <dgm:spPr/>
    </dgm:pt>
    <dgm:pt modelId="{527787B6-C2E1-41AC-8A63-E0D44F6095FA}" type="pres">
      <dgm:prSet presAssocID="{05BCB79C-BFFC-40EA-AC08-07E846FCF786}" presName="level2Shape" presStyleLbl="asst2" presStyleIdx="4" presStyleCnt="8"/>
      <dgm:spPr/>
    </dgm:pt>
    <dgm:pt modelId="{89915CAD-8C75-4E3F-960D-6AB98D0B74F4}" type="pres">
      <dgm:prSet presAssocID="{05BCB79C-BFFC-40EA-AC08-07E846FCF786}" presName="hierChild3" presStyleCnt="0"/>
      <dgm:spPr/>
    </dgm:pt>
    <dgm:pt modelId="{5CC0C396-8377-475C-A00D-7F8341A1F477}" type="pres">
      <dgm:prSet presAssocID="{FAA45A8D-079A-4FAC-87D1-08D72268764D}" presName="Name19" presStyleLbl="parChTrans1D4" presStyleIdx="2" presStyleCnt="3"/>
      <dgm:spPr/>
    </dgm:pt>
    <dgm:pt modelId="{20755089-D219-4FE9-8B97-A1923491F114}" type="pres">
      <dgm:prSet presAssocID="{5261F5C2-903F-4994-916A-72A90DAE7F2D}" presName="Name21" presStyleCnt="0"/>
      <dgm:spPr/>
    </dgm:pt>
    <dgm:pt modelId="{82B5BF8B-57A2-4E22-AA4A-CDE9EE34C77B}" type="pres">
      <dgm:prSet presAssocID="{5261F5C2-903F-4994-916A-72A90DAE7F2D}" presName="level2Shape" presStyleLbl="asst2" presStyleIdx="5" presStyleCnt="8"/>
      <dgm:spPr/>
    </dgm:pt>
    <dgm:pt modelId="{65955D25-5FF5-4C6B-92DA-30B6843FBE65}" type="pres">
      <dgm:prSet presAssocID="{5261F5C2-903F-4994-916A-72A90DAE7F2D}" presName="hierChild3" presStyleCnt="0"/>
      <dgm:spPr/>
    </dgm:pt>
    <dgm:pt modelId="{D0464A9B-83F7-4A2D-94B3-57ED5F3C091B}" type="pres">
      <dgm:prSet presAssocID="{691A60E3-A9F1-4BB7-B61A-8AFCF7412C11}" presName="Name19" presStyleLbl="parChTrans1D3" presStyleIdx="3" presStyleCnt="7"/>
      <dgm:spPr/>
    </dgm:pt>
    <dgm:pt modelId="{EDF5D77A-4E31-4D23-9F30-FCF2FFED1E70}" type="pres">
      <dgm:prSet presAssocID="{861DEF92-2271-49BB-8DAC-23DA80D99B90}" presName="Name21" presStyleCnt="0"/>
      <dgm:spPr/>
    </dgm:pt>
    <dgm:pt modelId="{F97BDF46-D920-42CC-AE1D-3430A1C11D9E}" type="pres">
      <dgm:prSet presAssocID="{861DEF92-2271-49BB-8DAC-23DA80D99B90}" presName="level2Shape" presStyleLbl="asst2" presStyleIdx="6" presStyleCnt="8"/>
      <dgm:spPr/>
    </dgm:pt>
    <dgm:pt modelId="{09D64436-1B52-4BBB-9DC6-394FE685D216}" type="pres">
      <dgm:prSet presAssocID="{861DEF92-2271-49BB-8DAC-23DA80D99B90}" presName="hierChild3" presStyleCnt="0"/>
      <dgm:spPr/>
    </dgm:pt>
    <dgm:pt modelId="{BC3E3219-39C3-4268-83EE-67E130107410}" type="pres">
      <dgm:prSet presAssocID="{27CC5377-3579-4E3E-8156-C39F82F5C364}" presName="Name19" presStyleLbl="parChTrans1D3" presStyleIdx="4" presStyleCnt="7"/>
      <dgm:spPr/>
    </dgm:pt>
    <dgm:pt modelId="{C0E1C8F5-8309-4D4E-8059-B9DE3FF0655D}" type="pres">
      <dgm:prSet presAssocID="{B0CDA07E-75AA-4E21-B99D-9A7EC2AC2297}" presName="Name21" presStyleCnt="0"/>
      <dgm:spPr/>
    </dgm:pt>
    <dgm:pt modelId="{1FCB1E33-4F48-4A78-8612-EB7710CE8354}" type="pres">
      <dgm:prSet presAssocID="{B0CDA07E-75AA-4E21-B99D-9A7EC2AC2297}" presName="level2Shape" presStyleLbl="asst2" presStyleIdx="7" presStyleCnt="8"/>
      <dgm:spPr/>
    </dgm:pt>
    <dgm:pt modelId="{8AFE89C8-F601-4215-9EB3-699FC4157F3F}" type="pres">
      <dgm:prSet presAssocID="{B0CDA07E-75AA-4E21-B99D-9A7EC2AC2297}" presName="hierChild3" presStyleCnt="0"/>
      <dgm:spPr/>
    </dgm:pt>
    <dgm:pt modelId="{54FE398B-EB4B-4376-8CAD-D5884C340DB3}" type="pres">
      <dgm:prSet presAssocID="{7E8BFC1C-609E-4A2A-A6DE-56B66744C355}" presName="Name19" presStyleLbl="parChTrans1D2" presStyleIdx="1" presStyleCnt="7"/>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2" presStyleCnt="7"/>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3" presStyleCnt="7"/>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4" presStyleCnt="7"/>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5" presStyleCnt="7"/>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A1CDEA6C-5A4D-425A-B7B4-C84037695A33}" type="pres">
      <dgm:prSet presAssocID="{4EE2EAB5-6A7E-48F2-98F8-E9C8AF624649}" presName="Name19" presStyleLbl="parChTrans1D3" presStyleIdx="6" presStyleCnt="7"/>
      <dgm:spPr/>
    </dgm:pt>
    <dgm:pt modelId="{AEF55D57-FC7B-4B1E-BDC7-D235D7BD4A4D}" type="pres">
      <dgm:prSet presAssocID="{28D1B84A-E065-40FD-BD5D-03D24AFCCF3D}" presName="Name21" presStyleCnt="0"/>
      <dgm:spPr/>
    </dgm:pt>
    <dgm:pt modelId="{512D3DA4-5AF8-45B2-9FCC-D6582DACED2F}" type="pres">
      <dgm:prSet presAssocID="{28D1B84A-E065-40FD-BD5D-03D24AFCCF3D}" presName="level2Shape" presStyleLbl="asst1" presStyleIdx="5" presStyleCnt="8"/>
      <dgm:spPr/>
    </dgm:pt>
    <dgm:pt modelId="{A39338D9-A703-4E4A-A1F8-CD16D98D5C73}" type="pres">
      <dgm:prSet presAssocID="{28D1B84A-E065-40FD-BD5D-03D24AFCCF3D}" presName="hierChild3" presStyleCnt="0"/>
      <dgm:spPr/>
    </dgm:pt>
    <dgm:pt modelId="{12BB4D1C-4932-4FB5-A5B3-D9E9B7872BE0}" type="pres">
      <dgm:prSet presAssocID="{22BF445F-7280-4C2A-9692-149DB32535DC}" presName="Name19" presStyleLbl="parChTrans1D2" presStyleIdx="5" presStyleCnt="7"/>
      <dgm:spPr/>
    </dgm:pt>
    <dgm:pt modelId="{52E6BFE2-0D95-4828-82AE-0FAC5EF08EAA}" type="pres">
      <dgm:prSet presAssocID="{FBC9B00A-14CA-4397-B5FB-6750AAD47715}" presName="Name21" presStyleCnt="0"/>
      <dgm:spPr/>
    </dgm:pt>
    <dgm:pt modelId="{11711BDA-6E88-4B70-AD55-C75947559D72}" type="pres">
      <dgm:prSet presAssocID="{FBC9B00A-14CA-4397-B5FB-6750AAD47715}" presName="level2Shape" presStyleLbl="asst1" presStyleIdx="6" presStyleCnt="8"/>
      <dgm:spPr/>
    </dgm:pt>
    <dgm:pt modelId="{8A1B2119-0194-4815-A48B-D904407BB993}" type="pres">
      <dgm:prSet presAssocID="{FBC9B00A-14CA-4397-B5FB-6750AAD47715}" presName="hierChild3" presStyleCnt="0"/>
      <dgm:spPr/>
    </dgm:pt>
    <dgm:pt modelId="{09C8B667-CAD7-4DC0-985B-9B8F058B52AE}" type="pres">
      <dgm:prSet presAssocID="{5E125E7F-2924-434E-8A12-D0BB81488294}" presName="Name19" presStyleLbl="parChTrans1D2" presStyleIdx="6" presStyleCnt="7"/>
      <dgm:spPr/>
    </dgm:pt>
    <dgm:pt modelId="{C4B81743-A1FC-4FB3-8757-BC64C1740D2B}" type="pres">
      <dgm:prSet presAssocID="{716DC358-E50A-4465-9552-0F542C15068C}" presName="Name21" presStyleCnt="0"/>
      <dgm:spPr/>
    </dgm:pt>
    <dgm:pt modelId="{91731D73-B433-4ECC-937E-D3F66E307A04}" type="pres">
      <dgm:prSet presAssocID="{716DC358-E50A-4465-9552-0F542C15068C}" presName="level2Shape" presStyleLbl="asst1" presStyleIdx="7" presStyleCnt="8"/>
      <dgm:spPr/>
    </dgm:pt>
    <dgm:pt modelId="{C4596AD7-D1B5-4631-997D-B312931C04C9}" type="pres">
      <dgm:prSet presAssocID="{716DC358-E50A-4465-9552-0F542C15068C}" presName="hierChild3" presStyleCnt="0"/>
      <dgm:spPr/>
    </dgm:pt>
    <dgm:pt modelId="{944D2ECF-FF7F-4937-9891-343B25FA2353}" type="pres">
      <dgm:prSet presAssocID="{6E762228-84FE-45B2-9BB6-19E98A9BB7EA}" presName="bgShapesFlow" presStyleCnt="0"/>
      <dgm:spPr/>
    </dgm:pt>
  </dgm:ptLst>
  <dgm:cxnLst>
    <dgm:cxn modelId="{73EA0900-CE13-4A51-AA57-A6BF879D4F96}" srcId="{EC5624F3-2170-43DC-97A6-A153AC2072F1}" destId="{FBC9B00A-14CA-4397-B5FB-6750AAD47715}" srcOrd="5" destOrd="0" parTransId="{22BF445F-7280-4C2A-9692-149DB32535DC}" sibTransId="{D6BE2072-7069-4A66-89FF-9E6F8768036C}"/>
    <dgm:cxn modelId="{EC6EF400-EB66-45DB-8643-AF5855C0C34C}" type="presOf" srcId="{B8064B35-238A-4C65-8D31-8EB550D8EE46}" destId="{BF248486-F648-4871-903F-93B482640036}" srcOrd="0" destOrd="0" presId="urn:microsoft.com/office/officeart/2005/8/layout/hierarchy6"/>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DEB09203-79E3-4D93-AF4D-5F65A9BC3EF2}" type="presOf" srcId="{270DB351-209F-44E3-AE5D-DD3AA05A8175}" destId="{8F552DA2-FC5B-40D6-B601-DCA076FAF8FB}" srcOrd="0" destOrd="0" presId="urn:microsoft.com/office/officeart/2005/8/layout/hierarchy6"/>
    <dgm:cxn modelId="{742FF205-1B4C-462C-ABBD-F2CB88EA006B}" srcId="{5E4D45D3-4EEE-44BF-BB04-85EB89632980}" destId="{5261F5C2-903F-4994-916A-72A90DAE7F2D}" srcOrd="2" destOrd="0" parTransId="{FAA45A8D-079A-4FAC-87D1-08D72268764D}" sibTransId="{EC32FA2C-6775-4014-B77E-A93B9C2EAE9C}"/>
    <dgm:cxn modelId="{7716060C-6212-4571-8FFD-5141AC57EA7E}" type="presOf" srcId="{8277FB8B-9D39-4CC5-BDEC-D3827308642F}" destId="{B4399AFE-2603-47B7-BCBC-A239B44C86F5}" srcOrd="0" destOrd="0" presId="urn:microsoft.com/office/officeart/2005/8/layout/hierarchy6"/>
    <dgm:cxn modelId="{4829CA0D-52BF-4D2B-9B2A-5C25EEDAE0AE}" type="presOf" srcId="{FBC9B00A-14CA-4397-B5FB-6750AAD47715}" destId="{11711BDA-6E88-4B70-AD55-C75947559D72}" srcOrd="0" destOrd="0" presId="urn:microsoft.com/office/officeart/2005/8/layout/hierarchy6"/>
    <dgm:cxn modelId="{9CE66014-C5FD-43F4-9E29-7F16A457F8B8}" type="presOf" srcId="{B0CDA07E-75AA-4E21-B99D-9A7EC2AC2297}" destId="{1FCB1E33-4F48-4A78-8612-EB7710CE8354}"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F56A91A-1153-4932-8504-5E62188AEAC8}" srcId="{2787F9B9-D9EE-40F6-ABD4-C13F268A8AF1}" destId="{B0CDA07E-75AA-4E21-B99D-9A7EC2AC2297}" srcOrd="4" destOrd="0" parTransId="{27CC5377-3579-4E3E-8156-C39F82F5C364}" sibTransId="{5F20F1D6-8A88-425A-800F-2A5B575C67AC}"/>
    <dgm:cxn modelId="{B8617E25-688E-475B-8679-A1D87925804B}" srcId="{EC5624F3-2170-43DC-97A6-A153AC2072F1}" destId="{DDFC3CEC-231C-49DE-8234-5A81205F633E}" srcOrd="4" destOrd="0" parTransId="{8258E7A2-05F2-49E4-B3A6-F4702FB05F8A}" sibTransId="{AFF9EF7A-8DCE-46EC-BFDE-38B86F0B3FAA}"/>
    <dgm:cxn modelId="{6D4B0141-C6C4-41B8-B199-554602B5062C}" type="presOf" srcId="{5E4D45D3-4EEE-44BF-BB04-85EB89632980}" destId="{01027D77-40B4-492F-B9BC-73968B2B92A0}"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2E937242-79E4-4644-89D9-2C592367D380}" type="presOf" srcId="{28D1B84A-E065-40FD-BD5D-03D24AFCCF3D}" destId="{512D3DA4-5AF8-45B2-9FCC-D6582DACED2F}" srcOrd="0" destOrd="0" presId="urn:microsoft.com/office/officeart/2005/8/layout/hierarchy6"/>
    <dgm:cxn modelId="{7CC43844-8375-4BC3-BBEE-6822921E2991}" srcId="{EC5624F3-2170-43DC-97A6-A153AC2072F1}" destId="{716DC358-E50A-4465-9552-0F542C15068C}" srcOrd="6" destOrd="0" parTransId="{5E125E7F-2924-434E-8A12-D0BB81488294}" sibTransId="{A72B7E00-C70C-42CA-9F52-F69093192028}"/>
    <dgm:cxn modelId="{37A8C165-C989-4E4B-964F-EBE3360E6646}" srcId="{DDFC3CEC-231C-49DE-8234-5A81205F633E}" destId="{28D1B84A-E065-40FD-BD5D-03D24AFCCF3D}" srcOrd="1" destOrd="0" parTransId="{4EE2EAB5-6A7E-48F2-98F8-E9C8AF624649}" sibTransId="{34CF20BC-F95D-4F09-A4FE-EF010505E83B}"/>
    <dgm:cxn modelId="{EDF7EA4A-10A6-4ED1-82BC-7C38ECBDFC44}" type="presOf" srcId="{69703607-1CEF-4962-A22B-C8239D13F2F4}" destId="{52433208-80E6-4924-B192-66BA710CE757}" srcOrd="0" destOrd="0" presId="urn:microsoft.com/office/officeart/2005/8/layout/hierarchy6"/>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FBDB4D56-4DBC-4B10-8516-DF739FEDA8A0}" type="presOf" srcId="{DDFC3CEC-231C-49DE-8234-5A81205F633E}" destId="{51E36B6D-BDD4-43C9-BE13-97A72EABE1BB}" srcOrd="0" destOrd="0" presId="urn:microsoft.com/office/officeart/2005/8/layout/hierarchy6"/>
    <dgm:cxn modelId="{D2285F77-70AE-4381-B1CA-B50F3DB313C9}" type="presOf" srcId="{4EE2EAB5-6A7E-48F2-98F8-E9C8AF624649}" destId="{A1CDEA6C-5A4D-425A-B7B4-C84037695A3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CF547479-DB1A-4EDB-8110-672617BA1145}" type="presOf" srcId="{861DEF92-2271-49BB-8DAC-23DA80D99B90}" destId="{F97BDF46-D920-42CC-AE1D-3430A1C11D9E}" srcOrd="0" destOrd="0" presId="urn:microsoft.com/office/officeart/2005/8/layout/hierarchy6"/>
    <dgm:cxn modelId="{0C8C777A-95D7-42BF-840E-D461EDAE87FA}" type="presOf" srcId="{716DC358-E50A-4465-9552-0F542C15068C}" destId="{91731D73-B433-4ECC-937E-D3F66E307A04}"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3B185282-4DAB-4C10-A7E7-21EEFCA76B4B}" srcId="{2787F9B9-D9EE-40F6-ABD4-C13F268A8AF1}" destId="{5E4D45D3-4EEE-44BF-BB04-85EB89632980}" srcOrd="2" destOrd="0" parTransId="{B8064B35-238A-4C65-8D31-8EB550D8EE46}" sibTransId="{65BAB6D8-2E20-414D-8678-C7623740EA0B}"/>
    <dgm:cxn modelId="{7E8B6988-AC2C-4577-8ACF-52A105CA95A0}" type="presOf" srcId="{DAF4A804-FF79-40DF-805D-58E5C402C862}" destId="{2A969FB1-A0CA-4BCB-9811-B1C2A2D37CF2}" srcOrd="0" destOrd="0" presId="urn:microsoft.com/office/officeart/2005/8/layout/hierarchy6"/>
    <dgm:cxn modelId="{D123C888-CB7E-41C5-8703-6A7DC41DD0F3}" type="presOf" srcId="{27CC5377-3579-4E3E-8156-C39F82F5C364}" destId="{BC3E3219-39C3-4268-83EE-67E130107410}" srcOrd="0" destOrd="0" presId="urn:microsoft.com/office/officeart/2005/8/layout/hierarchy6"/>
    <dgm:cxn modelId="{AD5CDF8B-53D7-42D2-B5BE-EC31C4EC75BE}" type="presOf" srcId="{691A60E3-A9F1-4BB7-B61A-8AFCF7412C11}" destId="{D0464A9B-83F7-4A2D-94B3-57ED5F3C091B}" srcOrd="0" destOrd="0" presId="urn:microsoft.com/office/officeart/2005/8/layout/hierarchy6"/>
    <dgm:cxn modelId="{ED1F2096-4928-40C7-B37F-5A6E93633F35}" type="presOf" srcId="{5E125E7F-2924-434E-8A12-D0BB81488294}" destId="{09C8B667-CAD7-4DC0-985B-9B8F058B52AE}" srcOrd="0" destOrd="0" presId="urn:microsoft.com/office/officeart/2005/8/layout/hierarchy6"/>
    <dgm:cxn modelId="{2FDF8B99-FC59-406B-A1FD-8AF9C9CEA3D4}" srcId="{2787F9B9-D9EE-40F6-ABD4-C13F268A8AF1}" destId="{861DEF92-2271-49BB-8DAC-23DA80D99B90}" srcOrd="3" destOrd="0" parTransId="{691A60E3-A9F1-4BB7-B61A-8AFCF7412C11}" sibTransId="{5CBBAEA1-BB2D-4AFA-BEF6-8B6D03DE3CFE}"/>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EEB4EFA7-0F0C-4365-AC60-BD498F52B8FE}" type="presOf" srcId="{05BCB79C-BFFC-40EA-AC08-07E846FCF786}" destId="{527787B6-C2E1-41AC-8A63-E0D44F6095FA}"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ACE7E8B8-AD19-4502-80DC-1E0EC3A3A83F}" type="presOf" srcId="{5261F5C2-903F-4994-916A-72A90DAE7F2D}" destId="{82B5BF8B-57A2-4E22-AA4A-CDE9EE34C77B}"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F3C015D5-1779-4996-B522-94D19EDBB0F7}" type="presOf" srcId="{FAA45A8D-079A-4FAC-87D1-08D72268764D}" destId="{5CC0C396-8377-475C-A00D-7F8341A1F477}" srcOrd="0" destOrd="0" presId="urn:microsoft.com/office/officeart/2005/8/layout/hierarchy6"/>
    <dgm:cxn modelId="{91810EE0-6BCF-4263-AA2F-DB283FC2EB3D}" type="presOf" srcId="{9D361AED-F287-426D-889C-035A581FCAD4}" destId="{9B0BC5A7-6A70-41C3-871D-416E6CE7FB15}" srcOrd="0" destOrd="0" presId="urn:microsoft.com/office/officeart/2005/8/layout/hierarchy6"/>
    <dgm:cxn modelId="{742005E1-AB52-4AE9-9E95-F47D16A8694C}" type="presOf" srcId="{22BF445F-7280-4C2A-9692-149DB32535DC}" destId="{12BB4D1C-4932-4FB5-A5B3-D9E9B7872BE0}" srcOrd="0" destOrd="0" presId="urn:microsoft.com/office/officeart/2005/8/layout/hierarchy6"/>
    <dgm:cxn modelId="{EFC364E8-71F1-4B89-AE5A-2882920EF443}" srcId="{5E4D45D3-4EEE-44BF-BB04-85EB89632980}" destId="{270DB351-209F-44E3-AE5D-DD3AA05A8175}" srcOrd="0" destOrd="0" parTransId="{B2937768-267F-4FD0-B209-ADCABB3F2609}" sibTransId="{61AB407C-BF26-4766-9709-693A5355340D}"/>
    <dgm:cxn modelId="{1B504EE9-3243-4559-9F55-F693B856E65E}" srcId="{5E4D45D3-4EEE-44BF-BB04-85EB89632980}" destId="{05BCB79C-BFFC-40EA-AC08-07E846FCF786}" srcOrd="1" destOrd="0" parTransId="{65EFF804-408F-48C0-9772-30C0A76E5CEE}" sibTransId="{E05952B9-F3FF-4088-AB3E-BE9A831EDAA0}"/>
    <dgm:cxn modelId="{D3BC09EF-6CEA-42CE-B968-B9690400E296}" type="presOf" srcId="{2787F9B9-D9EE-40F6-ABD4-C13F268A8AF1}" destId="{4AC8CF5E-1D5D-4BBE-AAC6-1A65B9CD9224}"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21A9D5F9-2B4F-4172-8583-AAEE932CE60B}" type="presOf" srcId="{B2937768-267F-4FD0-B209-ADCABB3F2609}" destId="{5690923D-9059-4138-8ACF-90D405019F80}" srcOrd="0" destOrd="0" presId="urn:microsoft.com/office/officeart/2005/8/layout/hierarchy6"/>
    <dgm:cxn modelId="{8EE8B4FB-9F00-49F3-93F2-BD74E32AB9B4}" type="presOf" srcId="{7CC9B32C-12C5-4169-B087-595C8A48B4F8}" destId="{54FC7E62-6BC8-4117-AE83-F7D461A58C56}" srcOrd="0" destOrd="0" presId="urn:microsoft.com/office/officeart/2005/8/layout/hierarchy6"/>
    <dgm:cxn modelId="{CC5458FE-95C6-4C37-8189-0180F3CD5281}" type="presOf" srcId="{D84DD7AB-A1C4-4A77-B583-CCF2DADB3362}" destId="{A26B365E-E5E1-416D-9FD8-97105F38CB63}" srcOrd="0" destOrd="0" presId="urn:microsoft.com/office/officeart/2005/8/layout/hierarchy6"/>
    <dgm:cxn modelId="{98D4B4FE-4A0E-4B15-871B-3DADAF242C7A}" type="presOf" srcId="{65EFF804-408F-48C0-9772-30C0A76E5CEE}" destId="{810926B5-7D25-4DDF-8B56-5D578BE910C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19CA976B-7889-46FA-88DE-71168301CA77}" type="presParOf" srcId="{A65EEE17-B142-4395-9440-82681C1ADA87}" destId="{2A969FB1-A0CA-4BCB-9811-B1C2A2D37CF2}" srcOrd="0" destOrd="0" presId="urn:microsoft.com/office/officeart/2005/8/layout/hierarchy6"/>
    <dgm:cxn modelId="{9C722C92-0BBC-4F7F-BC96-BA2D6C900645}" type="presParOf" srcId="{A65EEE17-B142-4395-9440-82681C1ADA87}" destId="{C3EFDF95-9A92-436A-B74A-D10E620D8558}" srcOrd="1" destOrd="0" presId="urn:microsoft.com/office/officeart/2005/8/layout/hierarchy6"/>
    <dgm:cxn modelId="{6635368F-5C50-48D5-A094-DF3DD893A99C}" type="presParOf" srcId="{C3EFDF95-9A92-436A-B74A-D10E620D8558}" destId="{4AC8CF5E-1D5D-4BBE-AAC6-1A65B9CD9224}" srcOrd="0" destOrd="0" presId="urn:microsoft.com/office/officeart/2005/8/layout/hierarchy6"/>
    <dgm:cxn modelId="{746884A4-3E2D-4236-9B60-8B1BF9B9D752}" type="presParOf" srcId="{C3EFDF95-9A92-436A-B74A-D10E620D8558}" destId="{4C118CD9-0F4D-4592-8997-BCE0C79E8E72}" srcOrd="1" destOrd="0" presId="urn:microsoft.com/office/officeart/2005/8/layout/hierarchy6"/>
    <dgm:cxn modelId="{804EA86D-2279-426A-B804-4E508811E39B}" type="presParOf" srcId="{4C118CD9-0F4D-4592-8997-BCE0C79E8E72}" destId="{9B0BC5A7-6A70-41C3-871D-416E6CE7FB15}" srcOrd="0" destOrd="0" presId="urn:microsoft.com/office/officeart/2005/8/layout/hierarchy6"/>
    <dgm:cxn modelId="{83BAB58D-DB5F-483A-A499-DA647D2A7E74}" type="presParOf" srcId="{4C118CD9-0F4D-4592-8997-BCE0C79E8E72}" destId="{82EC63D1-694F-4FFF-9E6D-6674B591884B}" srcOrd="1" destOrd="0" presId="urn:microsoft.com/office/officeart/2005/8/layout/hierarchy6"/>
    <dgm:cxn modelId="{D4E70B1E-7373-4956-B665-5CB483EBA01D}" type="presParOf" srcId="{82EC63D1-694F-4FFF-9E6D-6674B591884B}" destId="{A26B365E-E5E1-416D-9FD8-97105F38CB63}" srcOrd="0" destOrd="0" presId="urn:microsoft.com/office/officeart/2005/8/layout/hierarchy6"/>
    <dgm:cxn modelId="{9A73A220-1999-4634-A51B-26A9862F7FD6}" type="presParOf" srcId="{82EC63D1-694F-4FFF-9E6D-6674B591884B}" destId="{D32E83C3-191F-40F1-AF6A-A970805EBE25}" srcOrd="1" destOrd="0" presId="urn:microsoft.com/office/officeart/2005/8/layout/hierarchy6"/>
    <dgm:cxn modelId="{D291F541-5C10-4BC8-AE13-F58FE19111A7}" type="presParOf" srcId="{4C118CD9-0F4D-4592-8997-BCE0C79E8E72}" destId="{52433208-80E6-4924-B192-66BA710CE757}" srcOrd="2" destOrd="0" presId="urn:microsoft.com/office/officeart/2005/8/layout/hierarchy6"/>
    <dgm:cxn modelId="{B1376EA0-F06D-4D70-A1A7-A6308192A396}" type="presParOf" srcId="{4C118CD9-0F4D-4592-8997-BCE0C79E8E72}" destId="{74EF38D0-35A5-46DE-BF51-2FE421E3C217}" srcOrd="3" destOrd="0" presId="urn:microsoft.com/office/officeart/2005/8/layout/hierarchy6"/>
    <dgm:cxn modelId="{601F0275-C593-4098-A02B-63E5AF162ADF}" type="presParOf" srcId="{74EF38D0-35A5-46DE-BF51-2FE421E3C217}" destId="{B4399AFE-2603-47B7-BCBC-A239B44C86F5}" srcOrd="0" destOrd="0" presId="urn:microsoft.com/office/officeart/2005/8/layout/hierarchy6"/>
    <dgm:cxn modelId="{48C1B2D0-46B5-46E7-978C-2468E0C976A5}" type="presParOf" srcId="{74EF38D0-35A5-46DE-BF51-2FE421E3C217}" destId="{B89EE319-8A68-4B6F-A445-40F4B0A04EE8}" srcOrd="1" destOrd="0" presId="urn:microsoft.com/office/officeart/2005/8/layout/hierarchy6"/>
    <dgm:cxn modelId="{2A06FEF0-BCA7-4591-916B-7ED94D05FBA2}" type="presParOf" srcId="{4C118CD9-0F4D-4592-8997-BCE0C79E8E72}" destId="{BF248486-F648-4871-903F-93B482640036}" srcOrd="4" destOrd="0" presId="urn:microsoft.com/office/officeart/2005/8/layout/hierarchy6"/>
    <dgm:cxn modelId="{35740144-D3B0-4EF1-9B60-3AC5B25FA89B}" type="presParOf" srcId="{4C118CD9-0F4D-4592-8997-BCE0C79E8E72}" destId="{6FE122D2-6752-431D-8724-80CE50A9C31E}" srcOrd="5" destOrd="0" presId="urn:microsoft.com/office/officeart/2005/8/layout/hierarchy6"/>
    <dgm:cxn modelId="{AE17197E-CDF0-441F-9B31-EA8D14C2EC11}" type="presParOf" srcId="{6FE122D2-6752-431D-8724-80CE50A9C31E}" destId="{01027D77-40B4-492F-B9BC-73968B2B92A0}" srcOrd="0" destOrd="0" presId="urn:microsoft.com/office/officeart/2005/8/layout/hierarchy6"/>
    <dgm:cxn modelId="{EC9BDDC5-7ED9-4E92-AB8E-AC0C6E6B66A9}" type="presParOf" srcId="{6FE122D2-6752-431D-8724-80CE50A9C31E}" destId="{6E2C3CF8-B46E-4FFF-82FC-557F555F00ED}" srcOrd="1" destOrd="0" presId="urn:microsoft.com/office/officeart/2005/8/layout/hierarchy6"/>
    <dgm:cxn modelId="{70E9D8A1-5CED-409A-A46E-2A5F01B9B0EB}" type="presParOf" srcId="{6E2C3CF8-B46E-4FFF-82FC-557F555F00ED}" destId="{5690923D-9059-4138-8ACF-90D405019F80}" srcOrd="0" destOrd="0" presId="urn:microsoft.com/office/officeart/2005/8/layout/hierarchy6"/>
    <dgm:cxn modelId="{595653C3-4FC1-46DC-9381-525E772574A9}" type="presParOf" srcId="{6E2C3CF8-B46E-4FFF-82FC-557F555F00ED}" destId="{2A332E69-B5C0-4A68-B4C3-29696724CD01}" srcOrd="1" destOrd="0" presId="urn:microsoft.com/office/officeart/2005/8/layout/hierarchy6"/>
    <dgm:cxn modelId="{49150F22-75D2-4F66-9530-9C55CEA405D3}" type="presParOf" srcId="{2A332E69-B5C0-4A68-B4C3-29696724CD01}" destId="{8F552DA2-FC5B-40D6-B601-DCA076FAF8FB}" srcOrd="0" destOrd="0" presId="urn:microsoft.com/office/officeart/2005/8/layout/hierarchy6"/>
    <dgm:cxn modelId="{3A2A4292-B85A-43C5-969C-3597616AF2B1}" type="presParOf" srcId="{2A332E69-B5C0-4A68-B4C3-29696724CD01}" destId="{330902C9-A030-4F0E-8F44-4D46DA5BCFB1}" srcOrd="1" destOrd="0" presId="urn:microsoft.com/office/officeart/2005/8/layout/hierarchy6"/>
    <dgm:cxn modelId="{3ED61304-FCEF-4412-B47E-54EFC8E668D8}" type="presParOf" srcId="{6E2C3CF8-B46E-4FFF-82FC-557F555F00ED}" destId="{810926B5-7D25-4DDF-8B56-5D578BE910C7}" srcOrd="2" destOrd="0" presId="urn:microsoft.com/office/officeart/2005/8/layout/hierarchy6"/>
    <dgm:cxn modelId="{CBB7D5C2-A1BE-4081-90C8-0613EE908188}" type="presParOf" srcId="{6E2C3CF8-B46E-4FFF-82FC-557F555F00ED}" destId="{DCFF6636-F58C-477D-8963-805BCD844A5F}" srcOrd="3" destOrd="0" presId="urn:microsoft.com/office/officeart/2005/8/layout/hierarchy6"/>
    <dgm:cxn modelId="{46A9D569-44FB-4603-A1DE-3749D71666DA}" type="presParOf" srcId="{DCFF6636-F58C-477D-8963-805BCD844A5F}" destId="{527787B6-C2E1-41AC-8A63-E0D44F6095FA}" srcOrd="0" destOrd="0" presId="urn:microsoft.com/office/officeart/2005/8/layout/hierarchy6"/>
    <dgm:cxn modelId="{96881E38-D756-4564-B615-FB9DDE54BA4F}" type="presParOf" srcId="{DCFF6636-F58C-477D-8963-805BCD844A5F}" destId="{89915CAD-8C75-4E3F-960D-6AB98D0B74F4}" srcOrd="1" destOrd="0" presId="urn:microsoft.com/office/officeart/2005/8/layout/hierarchy6"/>
    <dgm:cxn modelId="{5ACEBE39-C8F9-4D9D-B65C-29ACC33CB00B}" type="presParOf" srcId="{6E2C3CF8-B46E-4FFF-82FC-557F555F00ED}" destId="{5CC0C396-8377-475C-A00D-7F8341A1F477}" srcOrd="4" destOrd="0" presId="urn:microsoft.com/office/officeart/2005/8/layout/hierarchy6"/>
    <dgm:cxn modelId="{22E2DF70-B8DA-4A06-9B01-D93E0D69202A}" type="presParOf" srcId="{6E2C3CF8-B46E-4FFF-82FC-557F555F00ED}" destId="{20755089-D219-4FE9-8B97-A1923491F114}" srcOrd="5" destOrd="0" presId="urn:microsoft.com/office/officeart/2005/8/layout/hierarchy6"/>
    <dgm:cxn modelId="{C4244724-E8AB-4C0E-BCB2-D3E6F03C1423}" type="presParOf" srcId="{20755089-D219-4FE9-8B97-A1923491F114}" destId="{82B5BF8B-57A2-4E22-AA4A-CDE9EE34C77B}" srcOrd="0" destOrd="0" presId="urn:microsoft.com/office/officeart/2005/8/layout/hierarchy6"/>
    <dgm:cxn modelId="{97FB66B7-63D9-48A5-8477-402E8D0FB8D8}" type="presParOf" srcId="{20755089-D219-4FE9-8B97-A1923491F114}" destId="{65955D25-5FF5-4C6B-92DA-30B6843FBE65}" srcOrd="1" destOrd="0" presId="urn:microsoft.com/office/officeart/2005/8/layout/hierarchy6"/>
    <dgm:cxn modelId="{675E7011-6AA8-4F53-9881-3A5C65D311B5}" type="presParOf" srcId="{4C118CD9-0F4D-4592-8997-BCE0C79E8E72}" destId="{D0464A9B-83F7-4A2D-94B3-57ED5F3C091B}" srcOrd="6" destOrd="0" presId="urn:microsoft.com/office/officeart/2005/8/layout/hierarchy6"/>
    <dgm:cxn modelId="{5814AC90-5C46-44C9-80F7-DD57F876A51A}" type="presParOf" srcId="{4C118CD9-0F4D-4592-8997-BCE0C79E8E72}" destId="{EDF5D77A-4E31-4D23-9F30-FCF2FFED1E70}" srcOrd="7" destOrd="0" presId="urn:microsoft.com/office/officeart/2005/8/layout/hierarchy6"/>
    <dgm:cxn modelId="{36B17E52-3FAA-4620-BD52-FD4A5AA158DE}" type="presParOf" srcId="{EDF5D77A-4E31-4D23-9F30-FCF2FFED1E70}" destId="{F97BDF46-D920-42CC-AE1D-3430A1C11D9E}" srcOrd="0" destOrd="0" presId="urn:microsoft.com/office/officeart/2005/8/layout/hierarchy6"/>
    <dgm:cxn modelId="{4EF6AA15-284C-4ACF-A991-D31F4F899255}" type="presParOf" srcId="{EDF5D77A-4E31-4D23-9F30-FCF2FFED1E70}" destId="{09D64436-1B52-4BBB-9DC6-394FE685D216}" srcOrd="1" destOrd="0" presId="urn:microsoft.com/office/officeart/2005/8/layout/hierarchy6"/>
    <dgm:cxn modelId="{B1ED6C3A-2A56-4D1A-A7DB-DDEC41C98572}" type="presParOf" srcId="{4C118CD9-0F4D-4592-8997-BCE0C79E8E72}" destId="{BC3E3219-39C3-4268-83EE-67E130107410}" srcOrd="8" destOrd="0" presId="urn:microsoft.com/office/officeart/2005/8/layout/hierarchy6"/>
    <dgm:cxn modelId="{A7441902-5257-4D6E-9972-BA73F25D1390}" type="presParOf" srcId="{4C118CD9-0F4D-4592-8997-BCE0C79E8E72}" destId="{C0E1C8F5-8309-4D4E-8059-B9DE3FF0655D}" srcOrd="9" destOrd="0" presId="urn:microsoft.com/office/officeart/2005/8/layout/hierarchy6"/>
    <dgm:cxn modelId="{4EC52375-2D0D-4885-882C-1FD0720B3AF0}" type="presParOf" srcId="{C0E1C8F5-8309-4D4E-8059-B9DE3FF0655D}" destId="{1FCB1E33-4F48-4A78-8612-EB7710CE8354}" srcOrd="0" destOrd="0" presId="urn:microsoft.com/office/officeart/2005/8/layout/hierarchy6"/>
    <dgm:cxn modelId="{7F7A51D4-70FD-4805-9C84-D8A3246C3A59}" type="presParOf" srcId="{C0E1C8F5-8309-4D4E-8059-B9DE3FF0655D}" destId="{8AFE89C8-F601-4215-9EB3-699FC4157F3F}" srcOrd="1" destOrd="0" presId="urn:microsoft.com/office/officeart/2005/8/layout/hierarchy6"/>
    <dgm:cxn modelId="{353D24E6-5290-4293-91DE-3D3983568F6E}" type="presParOf" srcId="{A65EEE17-B142-4395-9440-82681C1ADA87}" destId="{54FE398B-EB4B-4376-8CAD-D5884C340DB3}" srcOrd="2" destOrd="0" presId="urn:microsoft.com/office/officeart/2005/8/layout/hierarchy6"/>
    <dgm:cxn modelId="{548B0342-3944-40CA-8C73-5DD5EF7718D9}" type="presParOf" srcId="{A65EEE17-B142-4395-9440-82681C1ADA87}" destId="{340CDDD0-A67E-4157-8216-8DBB2B39CE6F}" srcOrd="3"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4" destOrd="0" presId="urn:microsoft.com/office/officeart/2005/8/layout/hierarchy6"/>
    <dgm:cxn modelId="{7E0FA62D-D0F3-4E5E-92EE-6EFA63C03AE6}" type="presParOf" srcId="{A65EEE17-B142-4395-9440-82681C1ADA87}" destId="{31CDE861-2E03-41FC-BAB0-7E58EF755624}" srcOrd="5"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6" destOrd="0" presId="urn:microsoft.com/office/officeart/2005/8/layout/hierarchy6"/>
    <dgm:cxn modelId="{A41DD5E4-92FB-4361-852F-8D76BC59B8DC}" type="presParOf" srcId="{A65EEE17-B142-4395-9440-82681C1ADA87}" destId="{D42A201D-B7E7-4CD9-9B50-D25D27FE443E}" srcOrd="7"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8" destOrd="0" presId="urn:microsoft.com/office/officeart/2005/8/layout/hierarchy6"/>
    <dgm:cxn modelId="{CFD5268B-1B30-4140-870E-E0D505D5F88B}" type="presParOf" srcId="{A65EEE17-B142-4395-9440-82681C1ADA87}" destId="{C03833A0-38F9-4B9D-91CE-742AB1C3F9B8}" srcOrd="9"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2E4738FB-C789-41ED-AA58-5C49FCB5C310}" type="presParOf" srcId="{1C1DFDCA-7A9A-430B-9449-7A269E0F64BD}" destId="{A1CDEA6C-5A4D-425A-B7B4-C84037695A33}" srcOrd="2" destOrd="0" presId="urn:microsoft.com/office/officeart/2005/8/layout/hierarchy6"/>
    <dgm:cxn modelId="{05BDDDA5-8493-466D-975B-739D3E09619D}" type="presParOf" srcId="{1C1DFDCA-7A9A-430B-9449-7A269E0F64BD}" destId="{AEF55D57-FC7B-4B1E-BDC7-D235D7BD4A4D}" srcOrd="3" destOrd="0" presId="urn:microsoft.com/office/officeart/2005/8/layout/hierarchy6"/>
    <dgm:cxn modelId="{DA407C52-5905-4BA8-848A-3593FC3EB281}" type="presParOf" srcId="{AEF55D57-FC7B-4B1E-BDC7-D235D7BD4A4D}" destId="{512D3DA4-5AF8-45B2-9FCC-D6582DACED2F}" srcOrd="0" destOrd="0" presId="urn:microsoft.com/office/officeart/2005/8/layout/hierarchy6"/>
    <dgm:cxn modelId="{08D27574-B563-49CE-B5EC-58E07F3C3192}" type="presParOf" srcId="{AEF55D57-FC7B-4B1E-BDC7-D235D7BD4A4D}" destId="{A39338D9-A703-4E4A-A1F8-CD16D98D5C73}" srcOrd="1" destOrd="0" presId="urn:microsoft.com/office/officeart/2005/8/layout/hierarchy6"/>
    <dgm:cxn modelId="{E6767E71-DE1E-46EA-A1BE-A1B784AFF457}" type="presParOf" srcId="{A65EEE17-B142-4395-9440-82681C1ADA87}" destId="{12BB4D1C-4932-4FB5-A5B3-D9E9B7872BE0}" srcOrd="10" destOrd="0" presId="urn:microsoft.com/office/officeart/2005/8/layout/hierarchy6"/>
    <dgm:cxn modelId="{A720DC4B-B593-4F51-A14F-F17DCEA5D7FF}" type="presParOf" srcId="{A65EEE17-B142-4395-9440-82681C1ADA87}" destId="{52E6BFE2-0D95-4828-82AE-0FAC5EF08EAA}" srcOrd="11" destOrd="0" presId="urn:microsoft.com/office/officeart/2005/8/layout/hierarchy6"/>
    <dgm:cxn modelId="{9C949D05-9430-4EC6-A5C5-745B2251D8B7}" type="presParOf" srcId="{52E6BFE2-0D95-4828-82AE-0FAC5EF08EAA}" destId="{11711BDA-6E88-4B70-AD55-C75947559D72}" srcOrd="0" destOrd="0" presId="urn:microsoft.com/office/officeart/2005/8/layout/hierarchy6"/>
    <dgm:cxn modelId="{D8C05CB7-DF04-46AB-93FB-0637F96C878B}" type="presParOf" srcId="{52E6BFE2-0D95-4828-82AE-0FAC5EF08EAA}" destId="{8A1B2119-0194-4815-A48B-D904407BB993}" srcOrd="1" destOrd="0" presId="urn:microsoft.com/office/officeart/2005/8/layout/hierarchy6"/>
    <dgm:cxn modelId="{34F61AD6-4EBA-463B-B2C4-870F74AE1E6B}" type="presParOf" srcId="{A65EEE17-B142-4395-9440-82681C1ADA87}" destId="{09C8B667-CAD7-4DC0-985B-9B8F058B52AE}" srcOrd="12" destOrd="0" presId="urn:microsoft.com/office/officeart/2005/8/layout/hierarchy6"/>
    <dgm:cxn modelId="{E4F0CECB-F69F-44A0-96B9-CE86A5AE5EAB}" type="presParOf" srcId="{A65EEE17-B142-4395-9440-82681C1ADA87}" destId="{C4B81743-A1FC-4FB3-8757-BC64C1740D2B}" srcOrd="13" destOrd="0" presId="urn:microsoft.com/office/officeart/2005/8/layout/hierarchy6"/>
    <dgm:cxn modelId="{43FBA80F-BECD-4604-A791-2B1B20C24512}" type="presParOf" srcId="{C4B81743-A1FC-4FB3-8757-BC64C1740D2B}" destId="{91731D73-B433-4ECC-937E-D3F66E307A04}" srcOrd="0" destOrd="0" presId="urn:microsoft.com/office/officeart/2005/8/layout/hierarchy6"/>
    <dgm:cxn modelId="{8DF1800F-3698-4D96-BD14-20A54E1FA7BD}" type="presParOf" srcId="{C4B81743-A1FC-4FB3-8757-BC64C1740D2B}" destId="{C4596AD7-D1B5-4631-997D-B312931C04C9}"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BFA158E-C0B2-4491-A478-D35EA9CB2E8C}" type="doc">
      <dgm:prSet loTypeId="urn:microsoft.com/office/officeart/2005/8/layout/vList5" loCatId="list" qsTypeId="urn:microsoft.com/office/officeart/2005/8/quickstyle/simple1" qsCatId="simple" csTypeId="urn:microsoft.com/office/officeart/2005/8/colors/accent4_1" csCatId="accent4"/>
      <dgm:spPr/>
      <dgm:t>
        <a:bodyPr/>
        <a:lstStyle/>
        <a:p>
          <a:endParaRPr lang="en-US"/>
        </a:p>
      </dgm:t>
    </dgm:pt>
    <dgm:pt modelId="{7C1BA52E-682C-46B6-B49B-7EAADCFF842C}">
      <dgm:prSet/>
      <dgm:spPr/>
      <dgm:t>
        <a:bodyPr/>
        <a:lstStyle/>
        <a:p>
          <a:r>
            <a:rPr lang="en-US" b="0" i="0" baseline="0"/>
            <a:t>For SQL Server 2017 Features</a:t>
          </a:r>
          <a:endParaRPr lang="en-US"/>
        </a:p>
      </dgm:t>
    </dgm:pt>
    <dgm:pt modelId="{3C94FEB3-6732-481E-8DA5-5CE9AE085000}" type="parTrans" cxnId="{0EE34BC9-F720-4A7B-B4E8-3B2F08AEDBB9}">
      <dgm:prSet/>
      <dgm:spPr/>
      <dgm:t>
        <a:bodyPr/>
        <a:lstStyle/>
        <a:p>
          <a:endParaRPr lang="en-US"/>
        </a:p>
      </dgm:t>
    </dgm:pt>
    <dgm:pt modelId="{E7D30D8F-1972-407E-8C57-3E274FF6E093}" type="sibTrans" cxnId="{0EE34BC9-F720-4A7B-B4E8-3B2F08AEDBB9}">
      <dgm:prSet/>
      <dgm:spPr/>
      <dgm:t>
        <a:bodyPr/>
        <a:lstStyle/>
        <a:p>
          <a:endParaRPr lang="en-US"/>
        </a:p>
      </dgm:t>
    </dgm:pt>
    <dgm:pt modelId="{A966074A-A3EF-484B-8458-43BC88A0DB50}">
      <dgm:prSet/>
      <dgm:spPr/>
      <dgm:t>
        <a:bodyPr/>
        <a:lstStyle/>
        <a:p>
          <a:r>
            <a:rPr lang="en-US" b="0" i="0" baseline="0"/>
            <a:t>Enabled by default in Compatibility level 140 or higher</a:t>
          </a:r>
          <a:endParaRPr lang="en-US"/>
        </a:p>
      </dgm:t>
    </dgm:pt>
    <dgm:pt modelId="{7669BD68-FAA4-46FB-BD81-DC6E6F1677BD}" type="parTrans" cxnId="{ECA9CB09-85D4-4B64-93BB-72BBA7EA7B4D}">
      <dgm:prSet/>
      <dgm:spPr/>
      <dgm:t>
        <a:bodyPr/>
        <a:lstStyle/>
        <a:p>
          <a:endParaRPr lang="en-US"/>
        </a:p>
      </dgm:t>
    </dgm:pt>
    <dgm:pt modelId="{690BA8BF-FA89-412C-81ED-2ED5C321A439}" type="sibTrans" cxnId="{ECA9CB09-85D4-4B64-93BB-72BBA7EA7B4D}">
      <dgm:prSet/>
      <dgm:spPr/>
      <dgm:t>
        <a:bodyPr/>
        <a:lstStyle/>
        <a:p>
          <a:endParaRPr lang="en-US"/>
        </a:p>
      </dgm:t>
    </dgm:pt>
    <dgm:pt modelId="{E125D2A4-CCA8-4E48-8961-B1A8C4B97641}">
      <dgm:prSet/>
      <dgm:spPr/>
      <dgm:t>
        <a:bodyPr/>
        <a:lstStyle/>
        <a:p>
          <a:r>
            <a:rPr lang="en-US" b="0" i="0" baseline="0"/>
            <a:t>To disable change compatibility level to 130 or lower</a:t>
          </a:r>
          <a:endParaRPr lang="en-US"/>
        </a:p>
      </dgm:t>
    </dgm:pt>
    <dgm:pt modelId="{70E278DC-E01C-4DF4-A2BE-9F2D0481C884}" type="parTrans" cxnId="{4CA5AAA7-C285-4013-A35F-8972361F1590}">
      <dgm:prSet/>
      <dgm:spPr/>
      <dgm:t>
        <a:bodyPr/>
        <a:lstStyle/>
        <a:p>
          <a:endParaRPr lang="en-US"/>
        </a:p>
      </dgm:t>
    </dgm:pt>
    <dgm:pt modelId="{4674537B-B8D1-42D9-8C21-FA1B3F6E877E}" type="sibTrans" cxnId="{4CA5AAA7-C285-4013-A35F-8972361F1590}">
      <dgm:prSet/>
      <dgm:spPr/>
      <dgm:t>
        <a:bodyPr/>
        <a:lstStyle/>
        <a:p>
          <a:endParaRPr lang="en-US"/>
        </a:p>
      </dgm:t>
    </dgm:pt>
    <dgm:pt modelId="{40E1E09E-7149-49CF-8D93-01B7D31D818C}">
      <dgm:prSet/>
      <dgm:spPr/>
      <dgm:t>
        <a:bodyPr/>
        <a:lstStyle/>
        <a:p>
          <a:r>
            <a:rPr lang="en-US" b="0" i="0" baseline="0"/>
            <a:t>For SQL Server 2019 Features</a:t>
          </a:r>
          <a:endParaRPr lang="en-US"/>
        </a:p>
      </dgm:t>
    </dgm:pt>
    <dgm:pt modelId="{57206C63-51DF-446B-81F6-C0D61CAB6BF3}" type="parTrans" cxnId="{480542F7-3BD3-44FE-A2ED-367808B11D91}">
      <dgm:prSet/>
      <dgm:spPr/>
      <dgm:t>
        <a:bodyPr/>
        <a:lstStyle/>
        <a:p>
          <a:endParaRPr lang="en-US"/>
        </a:p>
      </dgm:t>
    </dgm:pt>
    <dgm:pt modelId="{308B6EFB-DF43-4EC2-97C8-A638768B7104}" type="sibTrans" cxnId="{480542F7-3BD3-44FE-A2ED-367808B11D91}">
      <dgm:prSet/>
      <dgm:spPr/>
      <dgm:t>
        <a:bodyPr/>
        <a:lstStyle/>
        <a:p>
          <a:endParaRPr lang="en-US"/>
        </a:p>
      </dgm:t>
    </dgm:pt>
    <dgm:pt modelId="{7193DCC5-7302-4B13-A9E8-625CDA53828D}">
      <dgm:prSet/>
      <dgm:spPr/>
      <dgm:t>
        <a:bodyPr/>
        <a:lstStyle/>
        <a:p>
          <a:r>
            <a:rPr lang="en-US" b="0" i="0" baseline="0"/>
            <a:t>Enabled by default in Compatibility level 150 or higher</a:t>
          </a:r>
          <a:endParaRPr lang="en-US"/>
        </a:p>
      </dgm:t>
    </dgm:pt>
    <dgm:pt modelId="{22258A30-BA4D-4845-B054-9712801C8450}" type="parTrans" cxnId="{786F7975-26C1-45BC-946E-BCC73554DEEC}">
      <dgm:prSet/>
      <dgm:spPr/>
      <dgm:t>
        <a:bodyPr/>
        <a:lstStyle/>
        <a:p>
          <a:endParaRPr lang="en-US"/>
        </a:p>
      </dgm:t>
    </dgm:pt>
    <dgm:pt modelId="{90AAAE82-89B6-4FF0-84A7-EC6DD96A0C24}" type="sibTrans" cxnId="{786F7975-26C1-45BC-946E-BCC73554DEEC}">
      <dgm:prSet/>
      <dgm:spPr/>
      <dgm:t>
        <a:bodyPr/>
        <a:lstStyle/>
        <a:p>
          <a:endParaRPr lang="en-US"/>
        </a:p>
      </dgm:t>
    </dgm:pt>
    <dgm:pt modelId="{6575D6B8-BCC1-450A-BB72-AC4D21FBEDDF}">
      <dgm:prSet/>
      <dgm:spPr/>
      <dgm:t>
        <a:bodyPr/>
        <a:lstStyle/>
        <a:p>
          <a:r>
            <a:rPr lang="en-US" b="0" i="0" baseline="0"/>
            <a:t>To disable change compatibility level to 140 or lower</a:t>
          </a:r>
          <a:endParaRPr lang="en-US"/>
        </a:p>
      </dgm:t>
    </dgm:pt>
    <dgm:pt modelId="{D146F1BE-7003-42F8-97A4-92C859160D3C}" type="parTrans" cxnId="{2A9E1010-25CB-4546-ADDD-0B0460197580}">
      <dgm:prSet/>
      <dgm:spPr/>
      <dgm:t>
        <a:bodyPr/>
        <a:lstStyle/>
        <a:p>
          <a:endParaRPr lang="en-US"/>
        </a:p>
      </dgm:t>
    </dgm:pt>
    <dgm:pt modelId="{80E48E7C-9E00-4FBE-9B42-BD6DE0E45480}" type="sibTrans" cxnId="{2A9E1010-25CB-4546-ADDD-0B0460197580}">
      <dgm:prSet/>
      <dgm:spPr/>
      <dgm:t>
        <a:bodyPr/>
        <a:lstStyle/>
        <a:p>
          <a:endParaRPr lang="en-US"/>
        </a:p>
      </dgm:t>
    </dgm:pt>
    <dgm:pt modelId="{20B86D46-23F7-4247-8F2A-205EE1B4999A}">
      <dgm:prSet/>
      <dgm:spPr/>
      <dgm:t>
        <a:bodyPr/>
        <a:lstStyle/>
        <a:p>
          <a:r>
            <a:rPr lang="en-US" b="0" i="0" baseline="0"/>
            <a:t>For SQL Server 2022 Features</a:t>
          </a:r>
          <a:endParaRPr lang="en-US"/>
        </a:p>
      </dgm:t>
    </dgm:pt>
    <dgm:pt modelId="{5AC410F1-AD67-4F11-95D4-7C688F3C0ABA}" type="parTrans" cxnId="{6D9D1B7E-5444-4667-B599-CDE1FBB9ADE4}">
      <dgm:prSet/>
      <dgm:spPr/>
      <dgm:t>
        <a:bodyPr/>
        <a:lstStyle/>
        <a:p>
          <a:endParaRPr lang="en-US"/>
        </a:p>
      </dgm:t>
    </dgm:pt>
    <dgm:pt modelId="{E1ACE809-FC7E-4699-89CF-DE3BB1A12A3D}" type="sibTrans" cxnId="{6D9D1B7E-5444-4667-B599-CDE1FBB9ADE4}">
      <dgm:prSet/>
      <dgm:spPr/>
      <dgm:t>
        <a:bodyPr/>
        <a:lstStyle/>
        <a:p>
          <a:endParaRPr lang="en-US"/>
        </a:p>
      </dgm:t>
    </dgm:pt>
    <dgm:pt modelId="{B6DF4F87-87DB-4AFB-90CA-95354A3431B8}">
      <dgm:prSet/>
      <dgm:spPr/>
      <dgm:t>
        <a:bodyPr/>
        <a:lstStyle/>
        <a:p>
          <a:r>
            <a:rPr lang="en-US" b="0" i="0" baseline="0"/>
            <a:t>Enabled by default in Compatibility level 160 or higher</a:t>
          </a:r>
          <a:endParaRPr lang="en-US"/>
        </a:p>
      </dgm:t>
    </dgm:pt>
    <dgm:pt modelId="{23B423A7-0D56-4481-9944-A38F66DE8D65}" type="parTrans" cxnId="{F6E49F48-E7B1-42F9-8194-F5BB5E22F219}">
      <dgm:prSet/>
      <dgm:spPr/>
      <dgm:t>
        <a:bodyPr/>
        <a:lstStyle/>
        <a:p>
          <a:endParaRPr lang="en-US"/>
        </a:p>
      </dgm:t>
    </dgm:pt>
    <dgm:pt modelId="{A721FAE5-0EF2-4A70-A12D-32078BEAC213}" type="sibTrans" cxnId="{F6E49F48-E7B1-42F9-8194-F5BB5E22F219}">
      <dgm:prSet/>
      <dgm:spPr/>
      <dgm:t>
        <a:bodyPr/>
        <a:lstStyle/>
        <a:p>
          <a:endParaRPr lang="en-US"/>
        </a:p>
      </dgm:t>
    </dgm:pt>
    <dgm:pt modelId="{3C0FB1D6-B71F-4C57-B890-57FD8F1070FC}">
      <dgm:prSet/>
      <dgm:spPr/>
      <dgm:t>
        <a:bodyPr/>
        <a:lstStyle/>
        <a:p>
          <a:r>
            <a:rPr lang="en-US" b="0" i="0" baseline="0"/>
            <a:t>To disable change compatibility level to 150 or lower</a:t>
          </a:r>
          <a:endParaRPr lang="en-US"/>
        </a:p>
      </dgm:t>
    </dgm:pt>
    <dgm:pt modelId="{93314700-DDBA-41BA-858F-20F8AF432AE2}" type="parTrans" cxnId="{E0D9BE18-7B7A-41B4-A5B4-19FB6D2925F6}">
      <dgm:prSet/>
      <dgm:spPr/>
      <dgm:t>
        <a:bodyPr/>
        <a:lstStyle/>
        <a:p>
          <a:endParaRPr lang="en-US"/>
        </a:p>
      </dgm:t>
    </dgm:pt>
    <dgm:pt modelId="{F8275405-D8C4-4A38-A3A5-951677A83D4E}" type="sibTrans" cxnId="{E0D9BE18-7B7A-41B4-A5B4-19FB6D2925F6}">
      <dgm:prSet/>
      <dgm:spPr/>
      <dgm:t>
        <a:bodyPr/>
        <a:lstStyle/>
        <a:p>
          <a:endParaRPr lang="en-US"/>
        </a:p>
      </dgm:t>
    </dgm:pt>
    <dgm:pt modelId="{3029E92F-A0ED-443E-9945-A79F9877D286}" type="pres">
      <dgm:prSet presAssocID="{9BFA158E-C0B2-4491-A478-D35EA9CB2E8C}" presName="Name0" presStyleCnt="0">
        <dgm:presLayoutVars>
          <dgm:dir/>
          <dgm:animLvl val="lvl"/>
          <dgm:resizeHandles val="exact"/>
        </dgm:presLayoutVars>
      </dgm:prSet>
      <dgm:spPr/>
    </dgm:pt>
    <dgm:pt modelId="{241A5484-4A96-4EDC-9934-F352282C89BF}" type="pres">
      <dgm:prSet presAssocID="{7C1BA52E-682C-46B6-B49B-7EAADCFF842C}" presName="linNode" presStyleCnt="0"/>
      <dgm:spPr/>
    </dgm:pt>
    <dgm:pt modelId="{218FD34E-2541-406A-A55B-A25B88950A10}" type="pres">
      <dgm:prSet presAssocID="{7C1BA52E-682C-46B6-B49B-7EAADCFF842C}" presName="parentText" presStyleLbl="node1" presStyleIdx="0" presStyleCnt="3">
        <dgm:presLayoutVars>
          <dgm:chMax val="1"/>
          <dgm:bulletEnabled val="1"/>
        </dgm:presLayoutVars>
      </dgm:prSet>
      <dgm:spPr/>
    </dgm:pt>
    <dgm:pt modelId="{A3722D08-C011-4DD1-8142-126293CB9841}" type="pres">
      <dgm:prSet presAssocID="{7C1BA52E-682C-46B6-B49B-7EAADCFF842C}" presName="descendantText" presStyleLbl="alignAccFollowNode1" presStyleIdx="0" presStyleCnt="3">
        <dgm:presLayoutVars>
          <dgm:bulletEnabled val="1"/>
        </dgm:presLayoutVars>
      </dgm:prSet>
      <dgm:spPr/>
    </dgm:pt>
    <dgm:pt modelId="{1079B47F-E910-472E-BFB1-712B2F8F71B8}" type="pres">
      <dgm:prSet presAssocID="{E7D30D8F-1972-407E-8C57-3E274FF6E093}" presName="sp" presStyleCnt="0"/>
      <dgm:spPr/>
    </dgm:pt>
    <dgm:pt modelId="{ACF41510-0932-42C0-B620-33590FE7B270}" type="pres">
      <dgm:prSet presAssocID="{40E1E09E-7149-49CF-8D93-01B7D31D818C}" presName="linNode" presStyleCnt="0"/>
      <dgm:spPr/>
    </dgm:pt>
    <dgm:pt modelId="{2CEAB421-F7F0-4DBA-8BC0-61523C870BAD}" type="pres">
      <dgm:prSet presAssocID="{40E1E09E-7149-49CF-8D93-01B7D31D818C}" presName="parentText" presStyleLbl="node1" presStyleIdx="1" presStyleCnt="3">
        <dgm:presLayoutVars>
          <dgm:chMax val="1"/>
          <dgm:bulletEnabled val="1"/>
        </dgm:presLayoutVars>
      </dgm:prSet>
      <dgm:spPr/>
    </dgm:pt>
    <dgm:pt modelId="{57B402D0-3813-4A24-A54B-61124215544D}" type="pres">
      <dgm:prSet presAssocID="{40E1E09E-7149-49CF-8D93-01B7D31D818C}" presName="descendantText" presStyleLbl="alignAccFollowNode1" presStyleIdx="1" presStyleCnt="3">
        <dgm:presLayoutVars>
          <dgm:bulletEnabled val="1"/>
        </dgm:presLayoutVars>
      </dgm:prSet>
      <dgm:spPr/>
    </dgm:pt>
    <dgm:pt modelId="{5F59DCC0-1541-44F6-AD31-4BE820AFB986}" type="pres">
      <dgm:prSet presAssocID="{308B6EFB-DF43-4EC2-97C8-A638768B7104}" presName="sp" presStyleCnt="0"/>
      <dgm:spPr/>
    </dgm:pt>
    <dgm:pt modelId="{C8DB75BD-F69F-45A3-B261-5E1876173FFD}" type="pres">
      <dgm:prSet presAssocID="{20B86D46-23F7-4247-8F2A-205EE1B4999A}" presName="linNode" presStyleCnt="0"/>
      <dgm:spPr/>
    </dgm:pt>
    <dgm:pt modelId="{5B24DDF3-44E0-40FF-B14A-8F8A9E374E17}" type="pres">
      <dgm:prSet presAssocID="{20B86D46-23F7-4247-8F2A-205EE1B4999A}" presName="parentText" presStyleLbl="node1" presStyleIdx="2" presStyleCnt="3">
        <dgm:presLayoutVars>
          <dgm:chMax val="1"/>
          <dgm:bulletEnabled val="1"/>
        </dgm:presLayoutVars>
      </dgm:prSet>
      <dgm:spPr/>
    </dgm:pt>
    <dgm:pt modelId="{626A19CE-ED32-4563-82E3-899C299E48A3}" type="pres">
      <dgm:prSet presAssocID="{20B86D46-23F7-4247-8F2A-205EE1B4999A}" presName="descendantText" presStyleLbl="alignAccFollowNode1" presStyleIdx="2" presStyleCnt="3">
        <dgm:presLayoutVars>
          <dgm:bulletEnabled val="1"/>
        </dgm:presLayoutVars>
      </dgm:prSet>
      <dgm:spPr/>
    </dgm:pt>
  </dgm:ptLst>
  <dgm:cxnLst>
    <dgm:cxn modelId="{ECA9CB09-85D4-4B64-93BB-72BBA7EA7B4D}" srcId="{7C1BA52E-682C-46B6-B49B-7EAADCFF842C}" destId="{A966074A-A3EF-484B-8458-43BC88A0DB50}" srcOrd="0" destOrd="0" parTransId="{7669BD68-FAA4-46FB-BD81-DC6E6F1677BD}" sibTransId="{690BA8BF-FA89-412C-81ED-2ED5C321A439}"/>
    <dgm:cxn modelId="{B55F8B0A-1617-4E1C-AAEC-6D68B9CC882C}" type="presOf" srcId="{7193DCC5-7302-4B13-A9E8-625CDA53828D}" destId="{57B402D0-3813-4A24-A54B-61124215544D}" srcOrd="0" destOrd="0" presId="urn:microsoft.com/office/officeart/2005/8/layout/vList5"/>
    <dgm:cxn modelId="{2A9E1010-25CB-4546-ADDD-0B0460197580}" srcId="{40E1E09E-7149-49CF-8D93-01B7D31D818C}" destId="{6575D6B8-BCC1-450A-BB72-AC4D21FBEDDF}" srcOrd="1" destOrd="0" parTransId="{D146F1BE-7003-42F8-97A4-92C859160D3C}" sibTransId="{80E48E7C-9E00-4FBE-9B42-BD6DE0E45480}"/>
    <dgm:cxn modelId="{E0D9BE18-7B7A-41B4-A5B4-19FB6D2925F6}" srcId="{20B86D46-23F7-4247-8F2A-205EE1B4999A}" destId="{3C0FB1D6-B71F-4C57-B890-57FD8F1070FC}" srcOrd="1" destOrd="0" parTransId="{93314700-DDBA-41BA-858F-20F8AF432AE2}" sibTransId="{F8275405-D8C4-4A38-A3A5-951677A83D4E}"/>
    <dgm:cxn modelId="{F6E49F48-E7B1-42F9-8194-F5BB5E22F219}" srcId="{20B86D46-23F7-4247-8F2A-205EE1B4999A}" destId="{B6DF4F87-87DB-4AFB-90CA-95354A3431B8}" srcOrd="0" destOrd="0" parTransId="{23B423A7-0D56-4481-9944-A38F66DE8D65}" sibTransId="{A721FAE5-0EF2-4A70-A12D-32078BEAC213}"/>
    <dgm:cxn modelId="{9C2ACD6C-DD05-497A-9CF1-EA3E02999D9E}" type="presOf" srcId="{7C1BA52E-682C-46B6-B49B-7EAADCFF842C}" destId="{218FD34E-2541-406A-A55B-A25B88950A10}" srcOrd="0" destOrd="0" presId="urn:microsoft.com/office/officeart/2005/8/layout/vList5"/>
    <dgm:cxn modelId="{5B906D4F-DC2A-4923-BE5B-0D5F1CA9E285}" type="presOf" srcId="{A966074A-A3EF-484B-8458-43BC88A0DB50}" destId="{A3722D08-C011-4DD1-8142-126293CB9841}" srcOrd="0" destOrd="0" presId="urn:microsoft.com/office/officeart/2005/8/layout/vList5"/>
    <dgm:cxn modelId="{F8843071-C655-4EB7-9E74-C919BD0EBACD}" type="presOf" srcId="{20B86D46-23F7-4247-8F2A-205EE1B4999A}" destId="{5B24DDF3-44E0-40FF-B14A-8F8A9E374E17}" srcOrd="0" destOrd="0" presId="urn:microsoft.com/office/officeart/2005/8/layout/vList5"/>
    <dgm:cxn modelId="{786F7975-26C1-45BC-946E-BCC73554DEEC}" srcId="{40E1E09E-7149-49CF-8D93-01B7D31D818C}" destId="{7193DCC5-7302-4B13-A9E8-625CDA53828D}" srcOrd="0" destOrd="0" parTransId="{22258A30-BA4D-4845-B054-9712801C8450}" sibTransId="{90AAAE82-89B6-4FF0-84A7-EC6DD96A0C24}"/>
    <dgm:cxn modelId="{34340076-EEC1-4713-A1EE-A4AD81A92CE4}" type="presOf" srcId="{3C0FB1D6-B71F-4C57-B890-57FD8F1070FC}" destId="{626A19CE-ED32-4563-82E3-899C299E48A3}" srcOrd="0" destOrd="1" presId="urn:microsoft.com/office/officeart/2005/8/layout/vList5"/>
    <dgm:cxn modelId="{D609A159-E9FB-4EEA-89F1-C48627213A2E}" type="presOf" srcId="{E125D2A4-CCA8-4E48-8961-B1A8C4B97641}" destId="{A3722D08-C011-4DD1-8142-126293CB9841}" srcOrd="0" destOrd="1" presId="urn:microsoft.com/office/officeart/2005/8/layout/vList5"/>
    <dgm:cxn modelId="{6D9D1B7E-5444-4667-B599-CDE1FBB9ADE4}" srcId="{9BFA158E-C0B2-4491-A478-D35EA9CB2E8C}" destId="{20B86D46-23F7-4247-8F2A-205EE1B4999A}" srcOrd="2" destOrd="0" parTransId="{5AC410F1-AD67-4F11-95D4-7C688F3C0ABA}" sibTransId="{E1ACE809-FC7E-4699-89CF-DE3BB1A12A3D}"/>
    <dgm:cxn modelId="{DD74209F-1E76-4E33-98C7-9543EBFFF07D}" type="presOf" srcId="{9BFA158E-C0B2-4491-A478-D35EA9CB2E8C}" destId="{3029E92F-A0ED-443E-9945-A79F9877D286}" srcOrd="0" destOrd="0" presId="urn:microsoft.com/office/officeart/2005/8/layout/vList5"/>
    <dgm:cxn modelId="{4A173DA5-E61B-4DFB-8CBE-DEFE61F86FBC}" type="presOf" srcId="{40E1E09E-7149-49CF-8D93-01B7D31D818C}" destId="{2CEAB421-F7F0-4DBA-8BC0-61523C870BAD}" srcOrd="0" destOrd="0" presId="urn:microsoft.com/office/officeart/2005/8/layout/vList5"/>
    <dgm:cxn modelId="{4CA5AAA7-C285-4013-A35F-8972361F1590}" srcId="{7C1BA52E-682C-46B6-B49B-7EAADCFF842C}" destId="{E125D2A4-CCA8-4E48-8961-B1A8C4B97641}" srcOrd="1" destOrd="0" parTransId="{70E278DC-E01C-4DF4-A2BE-9F2D0481C884}" sibTransId="{4674537B-B8D1-42D9-8C21-FA1B3F6E877E}"/>
    <dgm:cxn modelId="{A8F19EBF-56A9-4372-AF5A-D912DEA60BC3}" type="presOf" srcId="{6575D6B8-BCC1-450A-BB72-AC4D21FBEDDF}" destId="{57B402D0-3813-4A24-A54B-61124215544D}" srcOrd="0" destOrd="1" presId="urn:microsoft.com/office/officeart/2005/8/layout/vList5"/>
    <dgm:cxn modelId="{0EE34BC9-F720-4A7B-B4E8-3B2F08AEDBB9}" srcId="{9BFA158E-C0B2-4491-A478-D35EA9CB2E8C}" destId="{7C1BA52E-682C-46B6-B49B-7EAADCFF842C}" srcOrd="0" destOrd="0" parTransId="{3C94FEB3-6732-481E-8DA5-5CE9AE085000}" sibTransId="{E7D30D8F-1972-407E-8C57-3E274FF6E093}"/>
    <dgm:cxn modelId="{6F1B27DD-0D9B-469F-9038-F5DFFA07DFF3}" type="presOf" srcId="{B6DF4F87-87DB-4AFB-90CA-95354A3431B8}" destId="{626A19CE-ED32-4563-82E3-899C299E48A3}" srcOrd="0" destOrd="0" presId="urn:microsoft.com/office/officeart/2005/8/layout/vList5"/>
    <dgm:cxn modelId="{480542F7-3BD3-44FE-A2ED-367808B11D91}" srcId="{9BFA158E-C0B2-4491-A478-D35EA9CB2E8C}" destId="{40E1E09E-7149-49CF-8D93-01B7D31D818C}" srcOrd="1" destOrd="0" parTransId="{57206C63-51DF-446B-81F6-C0D61CAB6BF3}" sibTransId="{308B6EFB-DF43-4EC2-97C8-A638768B7104}"/>
    <dgm:cxn modelId="{920E1CF4-DD80-4308-BFBD-29F47C0BBCDA}" type="presParOf" srcId="{3029E92F-A0ED-443E-9945-A79F9877D286}" destId="{241A5484-4A96-4EDC-9934-F352282C89BF}" srcOrd="0" destOrd="0" presId="urn:microsoft.com/office/officeart/2005/8/layout/vList5"/>
    <dgm:cxn modelId="{25315A1F-8D53-4718-A97D-B4469AA0390E}" type="presParOf" srcId="{241A5484-4A96-4EDC-9934-F352282C89BF}" destId="{218FD34E-2541-406A-A55B-A25B88950A10}" srcOrd="0" destOrd="0" presId="urn:microsoft.com/office/officeart/2005/8/layout/vList5"/>
    <dgm:cxn modelId="{12A0DB98-8273-43BF-8BA7-3953CB9ACDE8}" type="presParOf" srcId="{241A5484-4A96-4EDC-9934-F352282C89BF}" destId="{A3722D08-C011-4DD1-8142-126293CB9841}" srcOrd="1" destOrd="0" presId="urn:microsoft.com/office/officeart/2005/8/layout/vList5"/>
    <dgm:cxn modelId="{356C762E-9038-4A7C-96B5-5DA25E3F09B2}" type="presParOf" srcId="{3029E92F-A0ED-443E-9945-A79F9877D286}" destId="{1079B47F-E910-472E-BFB1-712B2F8F71B8}" srcOrd="1" destOrd="0" presId="urn:microsoft.com/office/officeart/2005/8/layout/vList5"/>
    <dgm:cxn modelId="{F1481475-D229-43A3-B152-EF1D2D64D7A5}" type="presParOf" srcId="{3029E92F-A0ED-443E-9945-A79F9877D286}" destId="{ACF41510-0932-42C0-B620-33590FE7B270}" srcOrd="2" destOrd="0" presId="urn:microsoft.com/office/officeart/2005/8/layout/vList5"/>
    <dgm:cxn modelId="{B739D04F-0F3C-4997-921E-20BC285836FC}" type="presParOf" srcId="{ACF41510-0932-42C0-B620-33590FE7B270}" destId="{2CEAB421-F7F0-4DBA-8BC0-61523C870BAD}" srcOrd="0" destOrd="0" presId="urn:microsoft.com/office/officeart/2005/8/layout/vList5"/>
    <dgm:cxn modelId="{01F69B49-1657-4839-91EB-DD8A1DDC2EA5}" type="presParOf" srcId="{ACF41510-0932-42C0-B620-33590FE7B270}" destId="{57B402D0-3813-4A24-A54B-61124215544D}" srcOrd="1" destOrd="0" presId="urn:microsoft.com/office/officeart/2005/8/layout/vList5"/>
    <dgm:cxn modelId="{B09B73CB-D859-4D58-B9E6-5E6A9F66BFEC}" type="presParOf" srcId="{3029E92F-A0ED-443E-9945-A79F9877D286}" destId="{5F59DCC0-1541-44F6-AD31-4BE820AFB986}" srcOrd="3" destOrd="0" presId="urn:microsoft.com/office/officeart/2005/8/layout/vList5"/>
    <dgm:cxn modelId="{3442D170-671D-4CF0-B318-412B904D4416}" type="presParOf" srcId="{3029E92F-A0ED-443E-9945-A79F9877D286}" destId="{C8DB75BD-F69F-45A3-B261-5E1876173FFD}" srcOrd="4" destOrd="0" presId="urn:microsoft.com/office/officeart/2005/8/layout/vList5"/>
    <dgm:cxn modelId="{58D04AA9-E219-4E21-9F90-88F428725AE3}" type="presParOf" srcId="{C8DB75BD-F69F-45A3-B261-5E1876173FFD}" destId="{5B24DDF3-44E0-40FF-B14A-8F8A9E374E17}" srcOrd="0" destOrd="0" presId="urn:microsoft.com/office/officeart/2005/8/layout/vList5"/>
    <dgm:cxn modelId="{48063D14-20ED-4D34-8B32-35072EF7EA53}" type="presParOf" srcId="{C8DB75BD-F69F-45A3-B261-5E1876173FFD}" destId="{626A19CE-ED32-4563-82E3-899C299E48A3}"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chemeClr val="tx2">
            <a:lumMod val="60000"/>
            <a:lumOff val="40000"/>
          </a:schemeClr>
        </a:solidFill>
      </dgm:spPr>
      <dgm:t>
        <a:bodyPr/>
        <a:lstStyle/>
        <a:p>
          <a:r>
            <a:rPr lang="en-US" dirty="0"/>
            <a:t>Feedback Persistenc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5E4D45D3-4EEE-44BF-BB04-85EB89632980}" type="asst">
      <dgm:prSet phldrT="[Text]"/>
      <dgm:spPr>
        <a:solidFill>
          <a:schemeClr val="accent5"/>
        </a:solidFill>
      </dgm:spPr>
      <dgm:t>
        <a:bodyPr/>
        <a:lstStyle/>
        <a:p>
          <a:r>
            <a:rPr lang="en-US" dirty="0"/>
            <a:t>Memory Grant Feedback</a:t>
          </a:r>
        </a:p>
      </dgm:t>
    </dgm:pt>
    <dgm:pt modelId="{B8064B35-238A-4C65-8D31-8EB550D8EE46}" type="parTrans" cxnId="{3B185282-4DAB-4C10-A7E7-21EEFCA76B4B}">
      <dgm:prSet/>
      <dgm:spPr/>
      <dgm:t>
        <a:bodyPr/>
        <a:lstStyle/>
        <a:p>
          <a:endParaRPr lang="en-US"/>
        </a:p>
      </dgm:t>
    </dgm:pt>
    <dgm:pt modelId="{65BAB6D8-2E20-414D-8678-C7623740EA0B}" type="sibTrans" cxnId="{3B185282-4DAB-4C10-A7E7-21EEFCA76B4B}">
      <dgm:prSet/>
      <dgm:spPr/>
      <dgm:t>
        <a:bodyPr/>
        <a:lstStyle/>
        <a:p>
          <a:endParaRPr lang="en-US"/>
        </a:p>
      </dgm:t>
    </dgm:pt>
    <dgm:pt modelId="{05BCB79C-BFFC-40EA-AC08-07E846FCF786}" type="asst">
      <dgm:prSet phldrT="[Text]"/>
      <dgm:spPr>
        <a:solidFill>
          <a:schemeClr val="accent6">
            <a:lumMod val="75000"/>
          </a:schemeClr>
        </a:solidFill>
      </dgm:spPr>
      <dgm:t>
        <a:bodyPr/>
        <a:lstStyle/>
        <a:p>
          <a:r>
            <a:rPr lang="en-US" dirty="0"/>
            <a:t>Row Mode</a:t>
          </a:r>
        </a:p>
      </dgm:t>
    </dgm:pt>
    <dgm:pt modelId="{65EFF804-408F-48C0-9772-30C0A76E5CEE}" type="parTrans" cxnId="{1B504EE9-3243-4559-9F55-F693B856E65E}">
      <dgm:prSet/>
      <dgm:spPr/>
      <dgm:t>
        <a:bodyPr/>
        <a:lstStyle/>
        <a:p>
          <a:endParaRPr lang="en-US"/>
        </a:p>
      </dgm:t>
    </dgm:pt>
    <dgm:pt modelId="{E05952B9-F3FF-4088-AB3E-BE9A831EDAA0}" type="sibTrans" cxnId="{1B504EE9-3243-4559-9F55-F693B856E65E}">
      <dgm:prSet/>
      <dgm:spPr/>
      <dgm:t>
        <a:bodyPr/>
        <a:lstStyle/>
        <a:p>
          <a:endParaRPr lang="en-US"/>
        </a:p>
      </dgm:t>
    </dgm:pt>
    <dgm:pt modelId="{28D1B84A-E065-40FD-BD5D-03D24AFCCF3D}" type="asst">
      <dgm:prSet phldrT="[Text]"/>
      <dgm:spPr>
        <a:solidFill>
          <a:schemeClr val="tx2">
            <a:lumMod val="60000"/>
            <a:lumOff val="40000"/>
          </a:schemeClr>
        </a:solidFill>
      </dgm:spPr>
      <dgm:t>
        <a:bodyPr/>
        <a:lstStyle/>
        <a:p>
          <a:r>
            <a:rPr lang="en-US" dirty="0"/>
            <a:t>Approximate Percentile</a:t>
          </a:r>
        </a:p>
      </dgm:t>
    </dgm:pt>
    <dgm:pt modelId="{4EE2EAB5-6A7E-48F2-98F8-E9C8AF624649}" type="parTrans" cxnId="{37A8C165-C989-4E4B-964F-EBE3360E6646}">
      <dgm:prSet/>
      <dgm:spPr/>
      <dgm:t>
        <a:bodyPr/>
        <a:lstStyle/>
        <a:p>
          <a:endParaRPr lang="en-US"/>
        </a:p>
      </dgm:t>
    </dgm:pt>
    <dgm:pt modelId="{34CF20BC-F95D-4F09-A4FE-EF010505E83B}" type="sibTrans" cxnId="{37A8C165-C989-4E4B-964F-EBE3360E6646}">
      <dgm:prSet/>
      <dgm:spPr/>
      <dgm:t>
        <a:bodyPr/>
        <a:lstStyle/>
        <a:p>
          <a:endParaRPr lang="en-US"/>
        </a:p>
      </dgm:t>
    </dgm:pt>
    <dgm:pt modelId="{716DC358-E50A-4465-9552-0F542C15068C}" type="asst">
      <dgm:prSet phldrT="[Text]"/>
      <dgm:spPr>
        <a:solidFill>
          <a:schemeClr val="tx2">
            <a:lumMod val="60000"/>
            <a:lumOff val="40000"/>
          </a:schemeClr>
        </a:solidFill>
      </dgm:spPr>
      <dgm:t>
        <a:bodyPr/>
        <a:lstStyle/>
        <a:p>
          <a:r>
            <a:rPr lang="en-US" dirty="0"/>
            <a:t>Parameter Sensitive Plan Optimization</a:t>
          </a:r>
        </a:p>
      </dgm:t>
    </dgm:pt>
    <dgm:pt modelId="{5E125E7F-2924-434E-8A12-D0BB81488294}" type="parTrans" cxnId="{7CC43844-8375-4BC3-BBEE-6822921E2991}">
      <dgm:prSet/>
      <dgm:spPr/>
      <dgm:t>
        <a:bodyPr/>
        <a:lstStyle/>
        <a:p>
          <a:endParaRPr lang="en-US"/>
        </a:p>
      </dgm:t>
    </dgm:pt>
    <dgm:pt modelId="{A72B7E00-C70C-42CA-9F52-F69093192028}" type="sibTrans" cxnId="{7CC43844-8375-4BC3-BBEE-6822921E2991}">
      <dgm:prSet/>
      <dgm:spPr/>
      <dgm:t>
        <a:bodyPr/>
        <a:lstStyle/>
        <a:p>
          <a:endParaRPr lang="en-US"/>
        </a:p>
      </dgm:t>
    </dgm:pt>
    <dgm:pt modelId="{861DEF92-2271-49BB-8DAC-23DA80D99B90}" type="asst">
      <dgm:prSet phldrT="[Text]"/>
      <dgm:spPr>
        <a:solidFill>
          <a:schemeClr val="tx2">
            <a:lumMod val="60000"/>
            <a:lumOff val="40000"/>
          </a:schemeClr>
        </a:solidFill>
      </dgm:spPr>
      <dgm:t>
        <a:bodyPr/>
        <a:lstStyle/>
        <a:p>
          <a:r>
            <a:rPr lang="en-US" dirty="0"/>
            <a:t>CE Feedback</a:t>
          </a:r>
        </a:p>
      </dgm:t>
    </dgm:pt>
    <dgm:pt modelId="{691A60E3-A9F1-4BB7-B61A-8AFCF7412C11}" type="parTrans" cxnId="{2FDF8B99-FC59-406B-A1FD-8AF9C9CEA3D4}">
      <dgm:prSet/>
      <dgm:spPr/>
      <dgm:t>
        <a:bodyPr/>
        <a:lstStyle/>
        <a:p>
          <a:endParaRPr lang="en-US"/>
        </a:p>
      </dgm:t>
    </dgm:pt>
    <dgm:pt modelId="{5CBBAEA1-BB2D-4AFA-BEF6-8B6D03DE3CFE}" type="sibTrans" cxnId="{2FDF8B99-FC59-406B-A1FD-8AF9C9CEA3D4}">
      <dgm:prSet/>
      <dgm:spPr/>
      <dgm:t>
        <a:bodyPr/>
        <a:lstStyle/>
        <a:p>
          <a:endParaRPr lang="en-US"/>
        </a:p>
      </dgm:t>
    </dgm:pt>
    <dgm:pt modelId="{B0CDA07E-75AA-4E21-B99D-9A7EC2AC2297}" type="asst">
      <dgm:prSet phldrT="[Text]"/>
      <dgm:spPr>
        <a:solidFill>
          <a:schemeClr val="tx2">
            <a:lumMod val="60000"/>
            <a:lumOff val="40000"/>
          </a:schemeClr>
        </a:solidFill>
      </dgm:spPr>
      <dgm:t>
        <a:bodyPr/>
        <a:lstStyle/>
        <a:p>
          <a:r>
            <a:rPr lang="en-US" dirty="0"/>
            <a:t>DOP Feedback</a:t>
          </a:r>
        </a:p>
      </dgm:t>
    </dgm:pt>
    <dgm:pt modelId="{27CC5377-3579-4E3E-8156-C39F82F5C364}" type="parTrans" cxnId="{0F56A91A-1153-4932-8504-5E62188AEAC8}">
      <dgm:prSet/>
      <dgm:spPr/>
      <dgm:t>
        <a:bodyPr/>
        <a:lstStyle/>
        <a:p>
          <a:endParaRPr lang="en-US"/>
        </a:p>
      </dgm:t>
    </dgm:pt>
    <dgm:pt modelId="{5F20F1D6-8A88-425A-800F-2A5B575C67AC}" type="sibTrans" cxnId="{0F56A91A-1153-4932-8504-5E62188AEAC8}">
      <dgm:prSet/>
      <dgm:spPr/>
      <dgm:t>
        <a:bodyPr/>
        <a:lstStyle/>
        <a:p>
          <a:endParaRPr lang="en-US"/>
        </a:p>
      </dgm:t>
    </dgm:pt>
    <dgm:pt modelId="{33CA82AC-5404-4B6C-9BE4-C3211DCC27D6}" type="asst">
      <dgm:prSet phldrT="[Text]"/>
      <dgm:spPr>
        <a:solidFill>
          <a:schemeClr val="tx2">
            <a:lumMod val="60000"/>
            <a:lumOff val="40000"/>
          </a:schemeClr>
        </a:solidFill>
      </dgm:spPr>
      <dgm:t>
        <a:bodyPr/>
        <a:lstStyle/>
        <a:p>
          <a:r>
            <a:rPr lang="en-US" dirty="0"/>
            <a:t>Optimized Plan Forcing</a:t>
          </a:r>
        </a:p>
      </dgm:t>
    </dgm:pt>
    <dgm:pt modelId="{7CEBE2A4-1BCA-43F7-9303-C9876390EB0C}" type="parTrans" cxnId="{FBC6894D-0D43-4395-976D-9CA619A32989}">
      <dgm:prSet/>
      <dgm:spPr/>
      <dgm:t>
        <a:bodyPr/>
        <a:lstStyle/>
        <a:p>
          <a:endParaRPr lang="en-US"/>
        </a:p>
      </dgm:t>
    </dgm:pt>
    <dgm:pt modelId="{977137EC-A4E9-4B92-9F5C-C7C3E29C2F83}" type="sibTrans" cxnId="{FBC6894D-0D43-4395-976D-9CA619A3298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2A969FB1-A0CA-4BCB-9811-B1C2A2D37CF2}" type="pres">
      <dgm:prSet presAssocID="{DAF4A804-FF79-40DF-805D-58E5C402C862}" presName="Name19" presStyleLbl="parChTrans1D2" presStyleIdx="0" presStyleCnt="7"/>
      <dgm:spPr/>
    </dgm:pt>
    <dgm:pt modelId="{C3EFDF95-9A92-436A-B74A-D10E620D8558}" type="pres">
      <dgm:prSet presAssocID="{2787F9B9-D9EE-40F6-ABD4-C13F268A8AF1}" presName="Name21" presStyleCnt="0"/>
      <dgm:spPr/>
    </dgm:pt>
    <dgm:pt modelId="{4AC8CF5E-1D5D-4BBE-AAC6-1A65B9CD9224}" type="pres">
      <dgm:prSet presAssocID="{2787F9B9-D9EE-40F6-ABD4-C13F268A8AF1}" presName="level2Shape" presStyleLbl="node2" presStyleIdx="0" presStyleCnt="1"/>
      <dgm:spPr/>
    </dgm:pt>
    <dgm:pt modelId="{4C118CD9-0F4D-4592-8997-BCE0C79E8E72}" type="pres">
      <dgm:prSet presAssocID="{2787F9B9-D9EE-40F6-ABD4-C13F268A8AF1}" presName="hierChild3" presStyleCnt="0"/>
      <dgm:spPr/>
    </dgm:pt>
    <dgm:pt modelId="{9B0BC5A7-6A70-41C3-871D-416E6CE7FB15}" type="pres">
      <dgm:prSet presAssocID="{9D361AED-F287-426D-889C-035A581FCAD4}" presName="Name19" presStyleLbl="parChTrans1D3" presStyleIdx="0" presStyleCnt="7"/>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2"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3" presStyleIdx="1" presStyleCnt="7"/>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2" presStyleIdx="1" presStyleCnt="8"/>
      <dgm:spPr/>
    </dgm:pt>
    <dgm:pt modelId="{B89EE319-8A68-4B6F-A445-40F4B0A04EE8}" type="pres">
      <dgm:prSet presAssocID="{8277FB8B-9D39-4CC5-BDEC-D3827308642F}" presName="hierChild3" presStyleCnt="0"/>
      <dgm:spPr/>
    </dgm:pt>
    <dgm:pt modelId="{BF248486-F648-4871-903F-93B482640036}" type="pres">
      <dgm:prSet presAssocID="{B8064B35-238A-4C65-8D31-8EB550D8EE46}" presName="Name19" presStyleLbl="parChTrans1D3" presStyleIdx="2" presStyleCnt="7"/>
      <dgm:spPr/>
    </dgm:pt>
    <dgm:pt modelId="{6FE122D2-6752-431D-8724-80CE50A9C31E}" type="pres">
      <dgm:prSet presAssocID="{5E4D45D3-4EEE-44BF-BB04-85EB89632980}" presName="Name21" presStyleCnt="0"/>
      <dgm:spPr/>
    </dgm:pt>
    <dgm:pt modelId="{01027D77-40B4-492F-B9BC-73968B2B92A0}" type="pres">
      <dgm:prSet presAssocID="{5E4D45D3-4EEE-44BF-BB04-85EB89632980}" presName="level2Shape" presStyleLbl="asst2" presStyleIdx="2" presStyleCnt="8"/>
      <dgm:spPr/>
    </dgm:pt>
    <dgm:pt modelId="{6E2C3CF8-B46E-4FFF-82FC-557F555F00ED}" type="pres">
      <dgm:prSet presAssocID="{5E4D45D3-4EEE-44BF-BB04-85EB89632980}" presName="hierChild3" presStyleCnt="0"/>
      <dgm:spPr/>
    </dgm:pt>
    <dgm:pt modelId="{5690923D-9059-4138-8ACF-90D405019F80}" type="pres">
      <dgm:prSet presAssocID="{B2937768-267F-4FD0-B209-ADCABB3F2609}" presName="Name19" presStyleLbl="parChTrans1D4"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2" presStyleIdx="3" presStyleCnt="8"/>
      <dgm:spPr/>
    </dgm:pt>
    <dgm:pt modelId="{330902C9-A030-4F0E-8F44-4D46DA5BCFB1}" type="pres">
      <dgm:prSet presAssocID="{270DB351-209F-44E3-AE5D-DD3AA05A8175}" presName="hierChild3" presStyleCnt="0"/>
      <dgm:spPr/>
    </dgm:pt>
    <dgm:pt modelId="{810926B5-7D25-4DDF-8B56-5D578BE910C7}" type="pres">
      <dgm:prSet presAssocID="{65EFF804-408F-48C0-9772-30C0A76E5CEE}" presName="Name19" presStyleLbl="parChTrans1D4" presStyleIdx="1" presStyleCnt="3"/>
      <dgm:spPr/>
    </dgm:pt>
    <dgm:pt modelId="{DCFF6636-F58C-477D-8963-805BCD844A5F}" type="pres">
      <dgm:prSet presAssocID="{05BCB79C-BFFC-40EA-AC08-07E846FCF786}" presName="Name21" presStyleCnt="0"/>
      <dgm:spPr/>
    </dgm:pt>
    <dgm:pt modelId="{527787B6-C2E1-41AC-8A63-E0D44F6095FA}" type="pres">
      <dgm:prSet presAssocID="{05BCB79C-BFFC-40EA-AC08-07E846FCF786}" presName="level2Shape" presStyleLbl="asst2" presStyleIdx="4" presStyleCnt="8"/>
      <dgm:spPr/>
    </dgm:pt>
    <dgm:pt modelId="{89915CAD-8C75-4E3F-960D-6AB98D0B74F4}" type="pres">
      <dgm:prSet presAssocID="{05BCB79C-BFFC-40EA-AC08-07E846FCF786}" presName="hierChild3" presStyleCnt="0"/>
      <dgm:spPr/>
    </dgm:pt>
    <dgm:pt modelId="{5CC0C396-8377-475C-A00D-7F8341A1F477}" type="pres">
      <dgm:prSet presAssocID="{FAA45A8D-079A-4FAC-87D1-08D72268764D}" presName="Name19" presStyleLbl="parChTrans1D4" presStyleIdx="2" presStyleCnt="3"/>
      <dgm:spPr/>
    </dgm:pt>
    <dgm:pt modelId="{20755089-D219-4FE9-8B97-A1923491F114}" type="pres">
      <dgm:prSet presAssocID="{5261F5C2-903F-4994-916A-72A90DAE7F2D}" presName="Name21" presStyleCnt="0"/>
      <dgm:spPr/>
    </dgm:pt>
    <dgm:pt modelId="{82B5BF8B-57A2-4E22-AA4A-CDE9EE34C77B}" type="pres">
      <dgm:prSet presAssocID="{5261F5C2-903F-4994-916A-72A90DAE7F2D}" presName="level2Shape" presStyleLbl="asst2" presStyleIdx="5" presStyleCnt="8"/>
      <dgm:spPr/>
    </dgm:pt>
    <dgm:pt modelId="{65955D25-5FF5-4C6B-92DA-30B6843FBE65}" type="pres">
      <dgm:prSet presAssocID="{5261F5C2-903F-4994-916A-72A90DAE7F2D}" presName="hierChild3" presStyleCnt="0"/>
      <dgm:spPr/>
    </dgm:pt>
    <dgm:pt modelId="{D0464A9B-83F7-4A2D-94B3-57ED5F3C091B}" type="pres">
      <dgm:prSet presAssocID="{691A60E3-A9F1-4BB7-B61A-8AFCF7412C11}" presName="Name19" presStyleLbl="parChTrans1D3" presStyleIdx="3" presStyleCnt="7"/>
      <dgm:spPr/>
    </dgm:pt>
    <dgm:pt modelId="{EDF5D77A-4E31-4D23-9F30-FCF2FFED1E70}" type="pres">
      <dgm:prSet presAssocID="{861DEF92-2271-49BB-8DAC-23DA80D99B90}" presName="Name21" presStyleCnt="0"/>
      <dgm:spPr/>
    </dgm:pt>
    <dgm:pt modelId="{F97BDF46-D920-42CC-AE1D-3430A1C11D9E}" type="pres">
      <dgm:prSet presAssocID="{861DEF92-2271-49BB-8DAC-23DA80D99B90}" presName="level2Shape" presStyleLbl="asst2" presStyleIdx="6" presStyleCnt="8"/>
      <dgm:spPr/>
    </dgm:pt>
    <dgm:pt modelId="{09D64436-1B52-4BBB-9DC6-394FE685D216}" type="pres">
      <dgm:prSet presAssocID="{861DEF92-2271-49BB-8DAC-23DA80D99B90}" presName="hierChild3" presStyleCnt="0"/>
      <dgm:spPr/>
    </dgm:pt>
    <dgm:pt modelId="{BC3E3219-39C3-4268-83EE-67E130107410}" type="pres">
      <dgm:prSet presAssocID="{27CC5377-3579-4E3E-8156-C39F82F5C364}" presName="Name19" presStyleLbl="parChTrans1D3" presStyleIdx="4" presStyleCnt="7"/>
      <dgm:spPr/>
    </dgm:pt>
    <dgm:pt modelId="{C0E1C8F5-8309-4D4E-8059-B9DE3FF0655D}" type="pres">
      <dgm:prSet presAssocID="{B0CDA07E-75AA-4E21-B99D-9A7EC2AC2297}" presName="Name21" presStyleCnt="0"/>
      <dgm:spPr/>
    </dgm:pt>
    <dgm:pt modelId="{1FCB1E33-4F48-4A78-8612-EB7710CE8354}" type="pres">
      <dgm:prSet presAssocID="{B0CDA07E-75AA-4E21-B99D-9A7EC2AC2297}" presName="level2Shape" presStyleLbl="asst2" presStyleIdx="7" presStyleCnt="8"/>
      <dgm:spPr/>
    </dgm:pt>
    <dgm:pt modelId="{8AFE89C8-F601-4215-9EB3-699FC4157F3F}" type="pres">
      <dgm:prSet presAssocID="{B0CDA07E-75AA-4E21-B99D-9A7EC2AC2297}" presName="hierChild3" presStyleCnt="0"/>
      <dgm:spPr/>
    </dgm:pt>
    <dgm:pt modelId="{54FE398B-EB4B-4376-8CAD-D5884C340DB3}" type="pres">
      <dgm:prSet presAssocID="{7E8BFC1C-609E-4A2A-A6DE-56B66744C355}" presName="Name19" presStyleLbl="parChTrans1D2" presStyleIdx="1" presStyleCnt="7"/>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2" presStyleCnt="7"/>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3" presStyleCnt="7"/>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4" presStyleCnt="7"/>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5" presStyleCnt="7"/>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A1CDEA6C-5A4D-425A-B7B4-C84037695A33}" type="pres">
      <dgm:prSet presAssocID="{4EE2EAB5-6A7E-48F2-98F8-E9C8AF624649}" presName="Name19" presStyleLbl="parChTrans1D3" presStyleIdx="6" presStyleCnt="7"/>
      <dgm:spPr/>
    </dgm:pt>
    <dgm:pt modelId="{AEF55D57-FC7B-4B1E-BDC7-D235D7BD4A4D}" type="pres">
      <dgm:prSet presAssocID="{28D1B84A-E065-40FD-BD5D-03D24AFCCF3D}" presName="Name21" presStyleCnt="0"/>
      <dgm:spPr/>
    </dgm:pt>
    <dgm:pt modelId="{512D3DA4-5AF8-45B2-9FCC-D6582DACED2F}" type="pres">
      <dgm:prSet presAssocID="{28D1B84A-E065-40FD-BD5D-03D24AFCCF3D}" presName="level2Shape" presStyleLbl="asst1" presStyleIdx="5" presStyleCnt="8"/>
      <dgm:spPr/>
    </dgm:pt>
    <dgm:pt modelId="{A39338D9-A703-4E4A-A1F8-CD16D98D5C73}" type="pres">
      <dgm:prSet presAssocID="{28D1B84A-E065-40FD-BD5D-03D24AFCCF3D}" presName="hierChild3" presStyleCnt="0"/>
      <dgm:spPr/>
    </dgm:pt>
    <dgm:pt modelId="{527B0E77-7EB2-429E-AE69-E261FDCB7833}" type="pres">
      <dgm:prSet presAssocID="{7CEBE2A4-1BCA-43F7-9303-C9876390EB0C}" presName="Name19" presStyleLbl="parChTrans1D2" presStyleIdx="5" presStyleCnt="7"/>
      <dgm:spPr/>
    </dgm:pt>
    <dgm:pt modelId="{0E4D7FF5-C4ED-47AB-8535-5C7B0A383F1F}" type="pres">
      <dgm:prSet presAssocID="{33CA82AC-5404-4B6C-9BE4-C3211DCC27D6}" presName="Name21" presStyleCnt="0"/>
      <dgm:spPr/>
    </dgm:pt>
    <dgm:pt modelId="{60C6DAC9-637D-431F-9AFD-95F84B4698A9}" type="pres">
      <dgm:prSet presAssocID="{33CA82AC-5404-4B6C-9BE4-C3211DCC27D6}" presName="level2Shape" presStyleLbl="asst1" presStyleIdx="6" presStyleCnt="8"/>
      <dgm:spPr/>
    </dgm:pt>
    <dgm:pt modelId="{526051A6-5F18-4055-A9D3-CA6749D9841E}" type="pres">
      <dgm:prSet presAssocID="{33CA82AC-5404-4B6C-9BE4-C3211DCC27D6}" presName="hierChild3" presStyleCnt="0"/>
      <dgm:spPr/>
    </dgm:pt>
    <dgm:pt modelId="{09C8B667-CAD7-4DC0-985B-9B8F058B52AE}" type="pres">
      <dgm:prSet presAssocID="{5E125E7F-2924-434E-8A12-D0BB81488294}" presName="Name19" presStyleLbl="parChTrans1D2" presStyleIdx="6" presStyleCnt="7"/>
      <dgm:spPr/>
    </dgm:pt>
    <dgm:pt modelId="{C4B81743-A1FC-4FB3-8757-BC64C1740D2B}" type="pres">
      <dgm:prSet presAssocID="{716DC358-E50A-4465-9552-0F542C15068C}" presName="Name21" presStyleCnt="0"/>
      <dgm:spPr/>
    </dgm:pt>
    <dgm:pt modelId="{91731D73-B433-4ECC-937E-D3F66E307A04}" type="pres">
      <dgm:prSet presAssocID="{716DC358-E50A-4465-9552-0F542C15068C}" presName="level2Shape" presStyleLbl="asst1" presStyleIdx="7" presStyleCnt="8"/>
      <dgm:spPr/>
    </dgm:pt>
    <dgm:pt modelId="{C4596AD7-D1B5-4631-997D-B312931C04C9}" type="pres">
      <dgm:prSet presAssocID="{716DC358-E50A-4465-9552-0F542C15068C}" presName="hierChild3" presStyleCnt="0"/>
      <dgm:spPr/>
    </dgm:pt>
    <dgm:pt modelId="{944D2ECF-FF7F-4937-9891-343B25FA2353}" type="pres">
      <dgm:prSet presAssocID="{6E762228-84FE-45B2-9BB6-19E98A9BB7EA}" presName="bgShapesFlow" presStyleCnt="0"/>
      <dgm:spPr/>
    </dgm:pt>
  </dgm:ptLst>
  <dgm:cxnLst>
    <dgm:cxn modelId="{EC6EF400-EB66-45DB-8643-AF5855C0C34C}" type="presOf" srcId="{B8064B35-238A-4C65-8D31-8EB550D8EE46}" destId="{BF248486-F648-4871-903F-93B482640036}" srcOrd="0" destOrd="0" presId="urn:microsoft.com/office/officeart/2005/8/layout/hierarchy6"/>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DEB09203-79E3-4D93-AF4D-5F65A9BC3EF2}" type="presOf" srcId="{270DB351-209F-44E3-AE5D-DD3AA05A8175}" destId="{8F552DA2-FC5B-40D6-B601-DCA076FAF8FB}" srcOrd="0" destOrd="0" presId="urn:microsoft.com/office/officeart/2005/8/layout/hierarchy6"/>
    <dgm:cxn modelId="{742FF205-1B4C-462C-ABBD-F2CB88EA006B}" srcId="{5E4D45D3-4EEE-44BF-BB04-85EB89632980}" destId="{5261F5C2-903F-4994-916A-72A90DAE7F2D}" srcOrd="2" destOrd="0" parTransId="{FAA45A8D-079A-4FAC-87D1-08D72268764D}" sibTransId="{EC32FA2C-6775-4014-B77E-A93B9C2EAE9C}"/>
    <dgm:cxn modelId="{7716060C-6212-4571-8FFD-5141AC57EA7E}" type="presOf" srcId="{8277FB8B-9D39-4CC5-BDEC-D3827308642F}" destId="{B4399AFE-2603-47B7-BCBC-A239B44C86F5}" srcOrd="0" destOrd="0" presId="urn:microsoft.com/office/officeart/2005/8/layout/hierarchy6"/>
    <dgm:cxn modelId="{9CE66014-C5FD-43F4-9E29-7F16A457F8B8}" type="presOf" srcId="{B0CDA07E-75AA-4E21-B99D-9A7EC2AC2297}" destId="{1FCB1E33-4F48-4A78-8612-EB7710CE8354}"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F56A91A-1153-4932-8504-5E62188AEAC8}" srcId="{2787F9B9-D9EE-40F6-ABD4-C13F268A8AF1}" destId="{B0CDA07E-75AA-4E21-B99D-9A7EC2AC2297}" srcOrd="4" destOrd="0" parTransId="{27CC5377-3579-4E3E-8156-C39F82F5C364}" sibTransId="{5F20F1D6-8A88-425A-800F-2A5B575C67AC}"/>
    <dgm:cxn modelId="{B8617E25-688E-475B-8679-A1D87925804B}" srcId="{EC5624F3-2170-43DC-97A6-A153AC2072F1}" destId="{DDFC3CEC-231C-49DE-8234-5A81205F633E}" srcOrd="4" destOrd="0" parTransId="{8258E7A2-05F2-49E4-B3A6-F4702FB05F8A}" sibTransId="{AFF9EF7A-8DCE-46EC-BFDE-38B86F0B3FAA}"/>
    <dgm:cxn modelId="{6D4B0141-C6C4-41B8-B199-554602B5062C}" type="presOf" srcId="{5E4D45D3-4EEE-44BF-BB04-85EB89632980}" destId="{01027D77-40B4-492F-B9BC-73968B2B92A0}"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2E937242-79E4-4644-89D9-2C592367D380}" type="presOf" srcId="{28D1B84A-E065-40FD-BD5D-03D24AFCCF3D}" destId="{512D3DA4-5AF8-45B2-9FCC-D6582DACED2F}" srcOrd="0" destOrd="0" presId="urn:microsoft.com/office/officeart/2005/8/layout/hierarchy6"/>
    <dgm:cxn modelId="{7CC43844-8375-4BC3-BBEE-6822921E2991}" srcId="{EC5624F3-2170-43DC-97A6-A153AC2072F1}" destId="{716DC358-E50A-4465-9552-0F542C15068C}" srcOrd="6" destOrd="0" parTransId="{5E125E7F-2924-434E-8A12-D0BB81488294}" sibTransId="{A72B7E00-C70C-42CA-9F52-F69093192028}"/>
    <dgm:cxn modelId="{37A8C165-C989-4E4B-964F-EBE3360E6646}" srcId="{DDFC3CEC-231C-49DE-8234-5A81205F633E}" destId="{28D1B84A-E065-40FD-BD5D-03D24AFCCF3D}" srcOrd="1" destOrd="0" parTransId="{4EE2EAB5-6A7E-48F2-98F8-E9C8AF624649}" sibTransId="{34CF20BC-F95D-4F09-A4FE-EF010505E83B}"/>
    <dgm:cxn modelId="{EDF7EA4A-10A6-4ED1-82BC-7C38ECBDFC44}" type="presOf" srcId="{69703607-1CEF-4962-A22B-C8239D13F2F4}" destId="{52433208-80E6-4924-B192-66BA710CE757}" srcOrd="0" destOrd="0" presId="urn:microsoft.com/office/officeart/2005/8/layout/hierarchy6"/>
    <dgm:cxn modelId="{FBC6894D-0D43-4395-976D-9CA619A32989}" srcId="{EC5624F3-2170-43DC-97A6-A153AC2072F1}" destId="{33CA82AC-5404-4B6C-9BE4-C3211DCC27D6}" srcOrd="5" destOrd="0" parTransId="{7CEBE2A4-1BCA-43F7-9303-C9876390EB0C}" sibTransId="{977137EC-A4E9-4B92-9F5C-C7C3E29C2F83}"/>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FBDB4D56-4DBC-4B10-8516-DF739FEDA8A0}" type="presOf" srcId="{DDFC3CEC-231C-49DE-8234-5A81205F633E}" destId="{51E36B6D-BDD4-43C9-BE13-97A72EABE1BB}" srcOrd="0" destOrd="0" presId="urn:microsoft.com/office/officeart/2005/8/layout/hierarchy6"/>
    <dgm:cxn modelId="{D2285F77-70AE-4381-B1CA-B50F3DB313C9}" type="presOf" srcId="{4EE2EAB5-6A7E-48F2-98F8-E9C8AF624649}" destId="{A1CDEA6C-5A4D-425A-B7B4-C84037695A3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CF547479-DB1A-4EDB-8110-672617BA1145}" type="presOf" srcId="{861DEF92-2271-49BB-8DAC-23DA80D99B90}" destId="{F97BDF46-D920-42CC-AE1D-3430A1C11D9E}" srcOrd="0" destOrd="0" presId="urn:microsoft.com/office/officeart/2005/8/layout/hierarchy6"/>
    <dgm:cxn modelId="{0C8C777A-95D7-42BF-840E-D461EDAE87FA}" type="presOf" srcId="{716DC358-E50A-4465-9552-0F542C15068C}" destId="{91731D73-B433-4ECC-937E-D3F66E307A04}"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3B185282-4DAB-4C10-A7E7-21EEFCA76B4B}" srcId="{2787F9B9-D9EE-40F6-ABD4-C13F268A8AF1}" destId="{5E4D45D3-4EEE-44BF-BB04-85EB89632980}" srcOrd="2" destOrd="0" parTransId="{B8064B35-238A-4C65-8D31-8EB550D8EE46}" sibTransId="{65BAB6D8-2E20-414D-8678-C7623740EA0B}"/>
    <dgm:cxn modelId="{7E8B6988-AC2C-4577-8ACF-52A105CA95A0}" type="presOf" srcId="{DAF4A804-FF79-40DF-805D-58E5C402C862}" destId="{2A969FB1-A0CA-4BCB-9811-B1C2A2D37CF2}" srcOrd="0" destOrd="0" presId="urn:microsoft.com/office/officeart/2005/8/layout/hierarchy6"/>
    <dgm:cxn modelId="{D123C888-CB7E-41C5-8703-6A7DC41DD0F3}" type="presOf" srcId="{27CC5377-3579-4E3E-8156-C39F82F5C364}" destId="{BC3E3219-39C3-4268-83EE-67E130107410}" srcOrd="0" destOrd="0" presId="urn:microsoft.com/office/officeart/2005/8/layout/hierarchy6"/>
    <dgm:cxn modelId="{AD5CDF8B-53D7-42D2-B5BE-EC31C4EC75BE}" type="presOf" srcId="{691A60E3-A9F1-4BB7-B61A-8AFCF7412C11}" destId="{D0464A9B-83F7-4A2D-94B3-57ED5F3C091B}" srcOrd="0" destOrd="0" presId="urn:microsoft.com/office/officeart/2005/8/layout/hierarchy6"/>
    <dgm:cxn modelId="{66E7E48D-8637-49EB-B728-7A632922E646}" type="presOf" srcId="{7CEBE2A4-1BCA-43F7-9303-C9876390EB0C}" destId="{527B0E77-7EB2-429E-AE69-E261FDCB7833}" srcOrd="0" destOrd="0" presId="urn:microsoft.com/office/officeart/2005/8/layout/hierarchy6"/>
    <dgm:cxn modelId="{ED1F2096-4928-40C7-B37F-5A6E93633F35}" type="presOf" srcId="{5E125E7F-2924-434E-8A12-D0BB81488294}" destId="{09C8B667-CAD7-4DC0-985B-9B8F058B52AE}" srcOrd="0" destOrd="0" presId="urn:microsoft.com/office/officeart/2005/8/layout/hierarchy6"/>
    <dgm:cxn modelId="{2FDF8B99-FC59-406B-A1FD-8AF9C9CEA3D4}" srcId="{2787F9B9-D9EE-40F6-ABD4-C13F268A8AF1}" destId="{861DEF92-2271-49BB-8DAC-23DA80D99B90}" srcOrd="3" destOrd="0" parTransId="{691A60E3-A9F1-4BB7-B61A-8AFCF7412C11}" sibTransId="{5CBBAEA1-BB2D-4AFA-BEF6-8B6D03DE3CFE}"/>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EEB4EFA7-0F0C-4365-AC60-BD498F52B8FE}" type="presOf" srcId="{05BCB79C-BFFC-40EA-AC08-07E846FCF786}" destId="{527787B6-C2E1-41AC-8A63-E0D44F6095FA}"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ACE7E8B8-AD19-4502-80DC-1E0EC3A3A83F}" type="presOf" srcId="{5261F5C2-903F-4994-916A-72A90DAE7F2D}" destId="{82B5BF8B-57A2-4E22-AA4A-CDE9EE34C77B}"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F3C015D5-1779-4996-B522-94D19EDBB0F7}" type="presOf" srcId="{FAA45A8D-079A-4FAC-87D1-08D72268764D}" destId="{5CC0C396-8377-475C-A00D-7F8341A1F477}" srcOrd="0" destOrd="0" presId="urn:microsoft.com/office/officeart/2005/8/layout/hierarchy6"/>
    <dgm:cxn modelId="{91810EE0-6BCF-4263-AA2F-DB283FC2EB3D}" type="presOf" srcId="{9D361AED-F287-426D-889C-035A581FCAD4}" destId="{9B0BC5A7-6A70-41C3-871D-416E6CE7FB15}" srcOrd="0" destOrd="0" presId="urn:microsoft.com/office/officeart/2005/8/layout/hierarchy6"/>
    <dgm:cxn modelId="{EFC364E8-71F1-4B89-AE5A-2882920EF443}" srcId="{5E4D45D3-4EEE-44BF-BB04-85EB89632980}" destId="{270DB351-209F-44E3-AE5D-DD3AA05A8175}" srcOrd="0" destOrd="0" parTransId="{B2937768-267F-4FD0-B209-ADCABB3F2609}" sibTransId="{61AB407C-BF26-4766-9709-693A5355340D}"/>
    <dgm:cxn modelId="{1B504EE9-3243-4559-9F55-F693B856E65E}" srcId="{5E4D45D3-4EEE-44BF-BB04-85EB89632980}" destId="{05BCB79C-BFFC-40EA-AC08-07E846FCF786}" srcOrd="1" destOrd="0" parTransId="{65EFF804-408F-48C0-9772-30C0A76E5CEE}" sibTransId="{E05952B9-F3FF-4088-AB3E-BE9A831EDAA0}"/>
    <dgm:cxn modelId="{D3BC09EF-6CEA-42CE-B968-B9690400E296}" type="presOf" srcId="{2787F9B9-D9EE-40F6-ABD4-C13F268A8AF1}" destId="{4AC8CF5E-1D5D-4BBE-AAC6-1A65B9CD9224}"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22EDA9F4-206F-42B8-A035-6F1B7BDC4BA8}" type="presOf" srcId="{33CA82AC-5404-4B6C-9BE4-C3211DCC27D6}" destId="{60C6DAC9-637D-431F-9AFD-95F84B4698A9}"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21A9D5F9-2B4F-4172-8583-AAEE932CE60B}" type="presOf" srcId="{B2937768-267F-4FD0-B209-ADCABB3F2609}" destId="{5690923D-9059-4138-8ACF-90D405019F80}" srcOrd="0" destOrd="0" presId="urn:microsoft.com/office/officeart/2005/8/layout/hierarchy6"/>
    <dgm:cxn modelId="{8EE8B4FB-9F00-49F3-93F2-BD74E32AB9B4}" type="presOf" srcId="{7CC9B32C-12C5-4169-B087-595C8A48B4F8}" destId="{54FC7E62-6BC8-4117-AE83-F7D461A58C56}" srcOrd="0" destOrd="0" presId="urn:microsoft.com/office/officeart/2005/8/layout/hierarchy6"/>
    <dgm:cxn modelId="{CC5458FE-95C6-4C37-8189-0180F3CD5281}" type="presOf" srcId="{D84DD7AB-A1C4-4A77-B583-CCF2DADB3362}" destId="{A26B365E-E5E1-416D-9FD8-97105F38CB63}" srcOrd="0" destOrd="0" presId="urn:microsoft.com/office/officeart/2005/8/layout/hierarchy6"/>
    <dgm:cxn modelId="{98D4B4FE-4A0E-4B15-871B-3DADAF242C7A}" type="presOf" srcId="{65EFF804-408F-48C0-9772-30C0A76E5CEE}" destId="{810926B5-7D25-4DDF-8B56-5D578BE910C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19CA976B-7889-46FA-88DE-71168301CA77}" type="presParOf" srcId="{A65EEE17-B142-4395-9440-82681C1ADA87}" destId="{2A969FB1-A0CA-4BCB-9811-B1C2A2D37CF2}" srcOrd="0" destOrd="0" presId="urn:microsoft.com/office/officeart/2005/8/layout/hierarchy6"/>
    <dgm:cxn modelId="{9C722C92-0BBC-4F7F-BC96-BA2D6C900645}" type="presParOf" srcId="{A65EEE17-B142-4395-9440-82681C1ADA87}" destId="{C3EFDF95-9A92-436A-B74A-D10E620D8558}" srcOrd="1" destOrd="0" presId="urn:microsoft.com/office/officeart/2005/8/layout/hierarchy6"/>
    <dgm:cxn modelId="{6635368F-5C50-48D5-A094-DF3DD893A99C}" type="presParOf" srcId="{C3EFDF95-9A92-436A-B74A-D10E620D8558}" destId="{4AC8CF5E-1D5D-4BBE-AAC6-1A65B9CD9224}" srcOrd="0" destOrd="0" presId="urn:microsoft.com/office/officeart/2005/8/layout/hierarchy6"/>
    <dgm:cxn modelId="{746884A4-3E2D-4236-9B60-8B1BF9B9D752}" type="presParOf" srcId="{C3EFDF95-9A92-436A-B74A-D10E620D8558}" destId="{4C118CD9-0F4D-4592-8997-BCE0C79E8E72}" srcOrd="1" destOrd="0" presId="urn:microsoft.com/office/officeart/2005/8/layout/hierarchy6"/>
    <dgm:cxn modelId="{804EA86D-2279-426A-B804-4E508811E39B}" type="presParOf" srcId="{4C118CD9-0F4D-4592-8997-BCE0C79E8E72}" destId="{9B0BC5A7-6A70-41C3-871D-416E6CE7FB15}" srcOrd="0" destOrd="0" presId="urn:microsoft.com/office/officeart/2005/8/layout/hierarchy6"/>
    <dgm:cxn modelId="{83BAB58D-DB5F-483A-A499-DA647D2A7E74}" type="presParOf" srcId="{4C118CD9-0F4D-4592-8997-BCE0C79E8E72}" destId="{82EC63D1-694F-4FFF-9E6D-6674B591884B}" srcOrd="1" destOrd="0" presId="urn:microsoft.com/office/officeart/2005/8/layout/hierarchy6"/>
    <dgm:cxn modelId="{D4E70B1E-7373-4956-B665-5CB483EBA01D}" type="presParOf" srcId="{82EC63D1-694F-4FFF-9E6D-6674B591884B}" destId="{A26B365E-E5E1-416D-9FD8-97105F38CB63}" srcOrd="0" destOrd="0" presId="urn:microsoft.com/office/officeart/2005/8/layout/hierarchy6"/>
    <dgm:cxn modelId="{9A73A220-1999-4634-A51B-26A9862F7FD6}" type="presParOf" srcId="{82EC63D1-694F-4FFF-9E6D-6674B591884B}" destId="{D32E83C3-191F-40F1-AF6A-A970805EBE25}" srcOrd="1" destOrd="0" presId="urn:microsoft.com/office/officeart/2005/8/layout/hierarchy6"/>
    <dgm:cxn modelId="{D291F541-5C10-4BC8-AE13-F58FE19111A7}" type="presParOf" srcId="{4C118CD9-0F4D-4592-8997-BCE0C79E8E72}" destId="{52433208-80E6-4924-B192-66BA710CE757}" srcOrd="2" destOrd="0" presId="urn:microsoft.com/office/officeart/2005/8/layout/hierarchy6"/>
    <dgm:cxn modelId="{B1376EA0-F06D-4D70-A1A7-A6308192A396}" type="presParOf" srcId="{4C118CD9-0F4D-4592-8997-BCE0C79E8E72}" destId="{74EF38D0-35A5-46DE-BF51-2FE421E3C217}" srcOrd="3" destOrd="0" presId="urn:microsoft.com/office/officeart/2005/8/layout/hierarchy6"/>
    <dgm:cxn modelId="{601F0275-C593-4098-A02B-63E5AF162ADF}" type="presParOf" srcId="{74EF38D0-35A5-46DE-BF51-2FE421E3C217}" destId="{B4399AFE-2603-47B7-BCBC-A239B44C86F5}" srcOrd="0" destOrd="0" presId="urn:microsoft.com/office/officeart/2005/8/layout/hierarchy6"/>
    <dgm:cxn modelId="{48C1B2D0-46B5-46E7-978C-2468E0C976A5}" type="presParOf" srcId="{74EF38D0-35A5-46DE-BF51-2FE421E3C217}" destId="{B89EE319-8A68-4B6F-A445-40F4B0A04EE8}" srcOrd="1" destOrd="0" presId="urn:microsoft.com/office/officeart/2005/8/layout/hierarchy6"/>
    <dgm:cxn modelId="{2A06FEF0-BCA7-4591-916B-7ED94D05FBA2}" type="presParOf" srcId="{4C118CD9-0F4D-4592-8997-BCE0C79E8E72}" destId="{BF248486-F648-4871-903F-93B482640036}" srcOrd="4" destOrd="0" presId="urn:microsoft.com/office/officeart/2005/8/layout/hierarchy6"/>
    <dgm:cxn modelId="{35740144-D3B0-4EF1-9B60-3AC5B25FA89B}" type="presParOf" srcId="{4C118CD9-0F4D-4592-8997-BCE0C79E8E72}" destId="{6FE122D2-6752-431D-8724-80CE50A9C31E}" srcOrd="5" destOrd="0" presId="urn:microsoft.com/office/officeart/2005/8/layout/hierarchy6"/>
    <dgm:cxn modelId="{AE17197E-CDF0-441F-9B31-EA8D14C2EC11}" type="presParOf" srcId="{6FE122D2-6752-431D-8724-80CE50A9C31E}" destId="{01027D77-40B4-492F-B9BC-73968B2B92A0}" srcOrd="0" destOrd="0" presId="urn:microsoft.com/office/officeart/2005/8/layout/hierarchy6"/>
    <dgm:cxn modelId="{EC9BDDC5-7ED9-4E92-AB8E-AC0C6E6B66A9}" type="presParOf" srcId="{6FE122D2-6752-431D-8724-80CE50A9C31E}" destId="{6E2C3CF8-B46E-4FFF-82FC-557F555F00ED}" srcOrd="1" destOrd="0" presId="urn:microsoft.com/office/officeart/2005/8/layout/hierarchy6"/>
    <dgm:cxn modelId="{70E9D8A1-5CED-409A-A46E-2A5F01B9B0EB}" type="presParOf" srcId="{6E2C3CF8-B46E-4FFF-82FC-557F555F00ED}" destId="{5690923D-9059-4138-8ACF-90D405019F80}" srcOrd="0" destOrd="0" presId="urn:microsoft.com/office/officeart/2005/8/layout/hierarchy6"/>
    <dgm:cxn modelId="{595653C3-4FC1-46DC-9381-525E772574A9}" type="presParOf" srcId="{6E2C3CF8-B46E-4FFF-82FC-557F555F00ED}" destId="{2A332E69-B5C0-4A68-B4C3-29696724CD01}" srcOrd="1" destOrd="0" presId="urn:microsoft.com/office/officeart/2005/8/layout/hierarchy6"/>
    <dgm:cxn modelId="{49150F22-75D2-4F66-9530-9C55CEA405D3}" type="presParOf" srcId="{2A332E69-B5C0-4A68-B4C3-29696724CD01}" destId="{8F552DA2-FC5B-40D6-B601-DCA076FAF8FB}" srcOrd="0" destOrd="0" presId="urn:microsoft.com/office/officeart/2005/8/layout/hierarchy6"/>
    <dgm:cxn modelId="{3A2A4292-B85A-43C5-969C-3597616AF2B1}" type="presParOf" srcId="{2A332E69-B5C0-4A68-B4C3-29696724CD01}" destId="{330902C9-A030-4F0E-8F44-4D46DA5BCFB1}" srcOrd="1" destOrd="0" presId="urn:microsoft.com/office/officeart/2005/8/layout/hierarchy6"/>
    <dgm:cxn modelId="{3ED61304-FCEF-4412-B47E-54EFC8E668D8}" type="presParOf" srcId="{6E2C3CF8-B46E-4FFF-82FC-557F555F00ED}" destId="{810926B5-7D25-4DDF-8B56-5D578BE910C7}" srcOrd="2" destOrd="0" presId="urn:microsoft.com/office/officeart/2005/8/layout/hierarchy6"/>
    <dgm:cxn modelId="{CBB7D5C2-A1BE-4081-90C8-0613EE908188}" type="presParOf" srcId="{6E2C3CF8-B46E-4FFF-82FC-557F555F00ED}" destId="{DCFF6636-F58C-477D-8963-805BCD844A5F}" srcOrd="3" destOrd="0" presId="urn:microsoft.com/office/officeart/2005/8/layout/hierarchy6"/>
    <dgm:cxn modelId="{46A9D569-44FB-4603-A1DE-3749D71666DA}" type="presParOf" srcId="{DCFF6636-F58C-477D-8963-805BCD844A5F}" destId="{527787B6-C2E1-41AC-8A63-E0D44F6095FA}" srcOrd="0" destOrd="0" presId="urn:microsoft.com/office/officeart/2005/8/layout/hierarchy6"/>
    <dgm:cxn modelId="{96881E38-D756-4564-B615-FB9DDE54BA4F}" type="presParOf" srcId="{DCFF6636-F58C-477D-8963-805BCD844A5F}" destId="{89915CAD-8C75-4E3F-960D-6AB98D0B74F4}" srcOrd="1" destOrd="0" presId="urn:microsoft.com/office/officeart/2005/8/layout/hierarchy6"/>
    <dgm:cxn modelId="{5ACEBE39-C8F9-4D9D-B65C-29ACC33CB00B}" type="presParOf" srcId="{6E2C3CF8-B46E-4FFF-82FC-557F555F00ED}" destId="{5CC0C396-8377-475C-A00D-7F8341A1F477}" srcOrd="4" destOrd="0" presId="urn:microsoft.com/office/officeart/2005/8/layout/hierarchy6"/>
    <dgm:cxn modelId="{22E2DF70-B8DA-4A06-9B01-D93E0D69202A}" type="presParOf" srcId="{6E2C3CF8-B46E-4FFF-82FC-557F555F00ED}" destId="{20755089-D219-4FE9-8B97-A1923491F114}" srcOrd="5" destOrd="0" presId="urn:microsoft.com/office/officeart/2005/8/layout/hierarchy6"/>
    <dgm:cxn modelId="{C4244724-E8AB-4C0E-BCB2-D3E6F03C1423}" type="presParOf" srcId="{20755089-D219-4FE9-8B97-A1923491F114}" destId="{82B5BF8B-57A2-4E22-AA4A-CDE9EE34C77B}" srcOrd="0" destOrd="0" presId="urn:microsoft.com/office/officeart/2005/8/layout/hierarchy6"/>
    <dgm:cxn modelId="{97FB66B7-63D9-48A5-8477-402E8D0FB8D8}" type="presParOf" srcId="{20755089-D219-4FE9-8B97-A1923491F114}" destId="{65955D25-5FF5-4C6B-92DA-30B6843FBE65}" srcOrd="1" destOrd="0" presId="urn:microsoft.com/office/officeart/2005/8/layout/hierarchy6"/>
    <dgm:cxn modelId="{675E7011-6AA8-4F53-9881-3A5C65D311B5}" type="presParOf" srcId="{4C118CD9-0F4D-4592-8997-BCE0C79E8E72}" destId="{D0464A9B-83F7-4A2D-94B3-57ED5F3C091B}" srcOrd="6" destOrd="0" presId="urn:microsoft.com/office/officeart/2005/8/layout/hierarchy6"/>
    <dgm:cxn modelId="{5814AC90-5C46-44C9-80F7-DD57F876A51A}" type="presParOf" srcId="{4C118CD9-0F4D-4592-8997-BCE0C79E8E72}" destId="{EDF5D77A-4E31-4D23-9F30-FCF2FFED1E70}" srcOrd="7" destOrd="0" presId="urn:microsoft.com/office/officeart/2005/8/layout/hierarchy6"/>
    <dgm:cxn modelId="{36B17E52-3FAA-4620-BD52-FD4A5AA158DE}" type="presParOf" srcId="{EDF5D77A-4E31-4D23-9F30-FCF2FFED1E70}" destId="{F97BDF46-D920-42CC-AE1D-3430A1C11D9E}" srcOrd="0" destOrd="0" presId="urn:microsoft.com/office/officeart/2005/8/layout/hierarchy6"/>
    <dgm:cxn modelId="{4EF6AA15-284C-4ACF-A991-D31F4F899255}" type="presParOf" srcId="{EDF5D77A-4E31-4D23-9F30-FCF2FFED1E70}" destId="{09D64436-1B52-4BBB-9DC6-394FE685D216}" srcOrd="1" destOrd="0" presId="urn:microsoft.com/office/officeart/2005/8/layout/hierarchy6"/>
    <dgm:cxn modelId="{B1ED6C3A-2A56-4D1A-A7DB-DDEC41C98572}" type="presParOf" srcId="{4C118CD9-0F4D-4592-8997-BCE0C79E8E72}" destId="{BC3E3219-39C3-4268-83EE-67E130107410}" srcOrd="8" destOrd="0" presId="urn:microsoft.com/office/officeart/2005/8/layout/hierarchy6"/>
    <dgm:cxn modelId="{A7441902-5257-4D6E-9972-BA73F25D1390}" type="presParOf" srcId="{4C118CD9-0F4D-4592-8997-BCE0C79E8E72}" destId="{C0E1C8F5-8309-4D4E-8059-B9DE3FF0655D}" srcOrd="9" destOrd="0" presId="urn:microsoft.com/office/officeart/2005/8/layout/hierarchy6"/>
    <dgm:cxn modelId="{4EC52375-2D0D-4885-882C-1FD0720B3AF0}" type="presParOf" srcId="{C0E1C8F5-8309-4D4E-8059-B9DE3FF0655D}" destId="{1FCB1E33-4F48-4A78-8612-EB7710CE8354}" srcOrd="0" destOrd="0" presId="urn:microsoft.com/office/officeart/2005/8/layout/hierarchy6"/>
    <dgm:cxn modelId="{7F7A51D4-70FD-4805-9C84-D8A3246C3A59}" type="presParOf" srcId="{C0E1C8F5-8309-4D4E-8059-B9DE3FF0655D}" destId="{8AFE89C8-F601-4215-9EB3-699FC4157F3F}" srcOrd="1" destOrd="0" presId="urn:microsoft.com/office/officeart/2005/8/layout/hierarchy6"/>
    <dgm:cxn modelId="{353D24E6-5290-4293-91DE-3D3983568F6E}" type="presParOf" srcId="{A65EEE17-B142-4395-9440-82681C1ADA87}" destId="{54FE398B-EB4B-4376-8CAD-D5884C340DB3}" srcOrd="2" destOrd="0" presId="urn:microsoft.com/office/officeart/2005/8/layout/hierarchy6"/>
    <dgm:cxn modelId="{548B0342-3944-40CA-8C73-5DD5EF7718D9}" type="presParOf" srcId="{A65EEE17-B142-4395-9440-82681C1ADA87}" destId="{340CDDD0-A67E-4157-8216-8DBB2B39CE6F}" srcOrd="3"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4" destOrd="0" presId="urn:microsoft.com/office/officeart/2005/8/layout/hierarchy6"/>
    <dgm:cxn modelId="{7E0FA62D-D0F3-4E5E-92EE-6EFA63C03AE6}" type="presParOf" srcId="{A65EEE17-B142-4395-9440-82681C1ADA87}" destId="{31CDE861-2E03-41FC-BAB0-7E58EF755624}" srcOrd="5"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6" destOrd="0" presId="urn:microsoft.com/office/officeart/2005/8/layout/hierarchy6"/>
    <dgm:cxn modelId="{A41DD5E4-92FB-4361-852F-8D76BC59B8DC}" type="presParOf" srcId="{A65EEE17-B142-4395-9440-82681C1ADA87}" destId="{D42A201D-B7E7-4CD9-9B50-D25D27FE443E}" srcOrd="7"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8" destOrd="0" presId="urn:microsoft.com/office/officeart/2005/8/layout/hierarchy6"/>
    <dgm:cxn modelId="{CFD5268B-1B30-4140-870E-E0D505D5F88B}" type="presParOf" srcId="{A65EEE17-B142-4395-9440-82681C1ADA87}" destId="{C03833A0-38F9-4B9D-91CE-742AB1C3F9B8}" srcOrd="9"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2E4738FB-C789-41ED-AA58-5C49FCB5C310}" type="presParOf" srcId="{1C1DFDCA-7A9A-430B-9449-7A269E0F64BD}" destId="{A1CDEA6C-5A4D-425A-B7B4-C84037695A33}" srcOrd="2" destOrd="0" presId="urn:microsoft.com/office/officeart/2005/8/layout/hierarchy6"/>
    <dgm:cxn modelId="{05BDDDA5-8493-466D-975B-739D3E09619D}" type="presParOf" srcId="{1C1DFDCA-7A9A-430B-9449-7A269E0F64BD}" destId="{AEF55D57-FC7B-4B1E-BDC7-D235D7BD4A4D}" srcOrd="3" destOrd="0" presId="urn:microsoft.com/office/officeart/2005/8/layout/hierarchy6"/>
    <dgm:cxn modelId="{DA407C52-5905-4BA8-848A-3593FC3EB281}" type="presParOf" srcId="{AEF55D57-FC7B-4B1E-BDC7-D235D7BD4A4D}" destId="{512D3DA4-5AF8-45B2-9FCC-D6582DACED2F}" srcOrd="0" destOrd="0" presId="urn:microsoft.com/office/officeart/2005/8/layout/hierarchy6"/>
    <dgm:cxn modelId="{08D27574-B563-49CE-B5EC-58E07F3C3192}" type="presParOf" srcId="{AEF55D57-FC7B-4B1E-BDC7-D235D7BD4A4D}" destId="{A39338D9-A703-4E4A-A1F8-CD16D98D5C73}" srcOrd="1" destOrd="0" presId="urn:microsoft.com/office/officeart/2005/8/layout/hierarchy6"/>
    <dgm:cxn modelId="{7EFD1CF3-B99A-4A63-B087-A3E4721F3955}" type="presParOf" srcId="{A65EEE17-B142-4395-9440-82681C1ADA87}" destId="{527B0E77-7EB2-429E-AE69-E261FDCB7833}" srcOrd="10" destOrd="0" presId="urn:microsoft.com/office/officeart/2005/8/layout/hierarchy6"/>
    <dgm:cxn modelId="{3F3D8B39-0967-40F5-9E2C-1E79CFE85420}" type="presParOf" srcId="{A65EEE17-B142-4395-9440-82681C1ADA87}" destId="{0E4D7FF5-C4ED-47AB-8535-5C7B0A383F1F}" srcOrd="11" destOrd="0" presId="urn:microsoft.com/office/officeart/2005/8/layout/hierarchy6"/>
    <dgm:cxn modelId="{596FD2EF-18A2-47CF-88E3-E91E01AEC269}" type="presParOf" srcId="{0E4D7FF5-C4ED-47AB-8535-5C7B0A383F1F}" destId="{60C6DAC9-637D-431F-9AFD-95F84B4698A9}" srcOrd="0" destOrd="0" presId="urn:microsoft.com/office/officeart/2005/8/layout/hierarchy6"/>
    <dgm:cxn modelId="{BEC43C64-8327-4D2C-B509-24E2FFB0CCE6}" type="presParOf" srcId="{0E4D7FF5-C4ED-47AB-8535-5C7B0A383F1F}" destId="{526051A6-5F18-4055-A9D3-CA6749D9841E}" srcOrd="1" destOrd="0" presId="urn:microsoft.com/office/officeart/2005/8/layout/hierarchy6"/>
    <dgm:cxn modelId="{34F61AD6-4EBA-463B-B2C4-870F74AE1E6B}" type="presParOf" srcId="{A65EEE17-B142-4395-9440-82681C1ADA87}" destId="{09C8B667-CAD7-4DC0-985B-9B8F058B52AE}" srcOrd="12" destOrd="0" presId="urn:microsoft.com/office/officeart/2005/8/layout/hierarchy6"/>
    <dgm:cxn modelId="{E4F0CECB-F69F-44A0-96B9-CE86A5AE5EAB}" type="presParOf" srcId="{A65EEE17-B142-4395-9440-82681C1ADA87}" destId="{C4B81743-A1FC-4FB3-8757-BC64C1740D2B}" srcOrd="13" destOrd="0" presId="urn:microsoft.com/office/officeart/2005/8/layout/hierarchy6"/>
    <dgm:cxn modelId="{43FBA80F-BECD-4604-A791-2B1B20C24512}" type="presParOf" srcId="{C4B81743-A1FC-4FB3-8757-BC64C1740D2B}" destId="{91731D73-B433-4ECC-937E-D3F66E307A04}" srcOrd="0" destOrd="0" presId="urn:microsoft.com/office/officeart/2005/8/layout/hierarchy6"/>
    <dgm:cxn modelId="{8DF1800F-3698-4D96-BD14-20A54E1FA7BD}" type="presParOf" srcId="{C4B81743-A1FC-4FB3-8757-BC64C1740D2B}" destId="{C4596AD7-D1B5-4631-997D-B312931C04C9}"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61FFD111-044A-4BE1-9445-2617C82DC89D}" type="asst">
      <dgm:prSet phldrT="[Text]"/>
      <dgm:spPr>
        <a:solidFill>
          <a:schemeClr val="tx2">
            <a:lumMod val="60000"/>
            <a:lumOff val="40000"/>
          </a:schemeClr>
        </a:solidFill>
      </dgm:spPr>
      <dgm:t>
        <a:bodyPr/>
        <a:lstStyle/>
        <a:p>
          <a:r>
            <a:rPr lang="en-US" dirty="0"/>
            <a:t>Approximate Percentile</a:t>
          </a:r>
        </a:p>
      </dgm:t>
    </dgm:pt>
    <dgm:pt modelId="{A909CCA2-F2D1-4BF7-844D-60E889476A22}" type="parTrans" cxnId="{9AA97BFB-4AB6-4D9C-AEE2-41E117FB3C75}">
      <dgm:prSet/>
      <dgm:spPr/>
      <dgm:t>
        <a:bodyPr/>
        <a:lstStyle/>
        <a:p>
          <a:endParaRPr lang="en-US"/>
        </a:p>
      </dgm:t>
    </dgm:pt>
    <dgm:pt modelId="{A2C2869B-F314-4BFB-8CC0-7B824D1F4F9C}" type="sibTrans" cxnId="{9AA97BFB-4AB6-4D9C-AEE2-41E117FB3C75}">
      <dgm:prSet/>
      <dgm:spPr/>
      <dgm:t>
        <a:bodyPr/>
        <a:lstStyle/>
        <a:p>
          <a:endParaRPr lang="en-US"/>
        </a:p>
      </dgm:t>
    </dgm:pt>
    <dgm:pt modelId="{600C9D66-7A8B-44F0-A9F4-A8BC5F7BC1E5}" type="asst">
      <dgm:prSet phldrT="[Text]"/>
      <dgm:spPr>
        <a:solidFill>
          <a:schemeClr val="tx2">
            <a:lumMod val="60000"/>
            <a:lumOff val="40000"/>
          </a:schemeClr>
        </a:solidFill>
      </dgm:spPr>
      <dgm:t>
        <a:bodyPr/>
        <a:lstStyle/>
        <a:p>
          <a:r>
            <a:rPr lang="en-US" dirty="0"/>
            <a:t>Optimized Plan Forcing</a:t>
          </a:r>
        </a:p>
      </dgm:t>
    </dgm:pt>
    <dgm:pt modelId="{15FCCC77-CAD3-4441-BC89-4813ACAA7CA6}" type="parTrans" cxnId="{720BF63F-8354-4C25-962B-83C175427778}">
      <dgm:prSet/>
      <dgm:spPr/>
      <dgm:t>
        <a:bodyPr/>
        <a:lstStyle/>
        <a:p>
          <a:endParaRPr lang="en-US"/>
        </a:p>
      </dgm:t>
    </dgm:pt>
    <dgm:pt modelId="{247DD205-EAAC-439E-8B10-8F2C8F3A9406}" type="sibTrans" cxnId="{720BF63F-8354-4C25-962B-83C175427778}">
      <dgm:prSet/>
      <dgm:spPr/>
      <dgm:t>
        <a:bodyPr/>
        <a:lstStyle/>
        <a:p>
          <a:endParaRPr lang="en-US"/>
        </a:p>
      </dgm:t>
    </dgm:pt>
    <dgm:pt modelId="{6B2DE824-07EB-4CFC-9784-9D065DF9BDFF}" type="asst">
      <dgm:prSet phldrT="[Text]"/>
      <dgm:spPr>
        <a:solidFill>
          <a:schemeClr val="tx2">
            <a:lumMod val="60000"/>
            <a:lumOff val="40000"/>
          </a:schemeClr>
        </a:solidFill>
      </dgm:spPr>
      <dgm:t>
        <a:bodyPr/>
        <a:lstStyle/>
        <a:p>
          <a:r>
            <a:rPr lang="en-US"/>
            <a:t>Parameter </a:t>
          </a:r>
          <a:r>
            <a:rPr lang="en-US" dirty="0"/>
            <a:t>Sensitive Plan Optimization</a:t>
          </a:r>
        </a:p>
      </dgm:t>
    </dgm:pt>
    <dgm:pt modelId="{BD6659DF-AD63-45F7-9A37-92E5847BA2AA}" type="parTrans" cxnId="{EB4A6390-1D78-45DA-9B1B-CDB2FE9C942F}">
      <dgm:prSet/>
      <dgm:spPr/>
      <dgm:t>
        <a:bodyPr/>
        <a:lstStyle/>
        <a:p>
          <a:endParaRPr lang="en-US"/>
        </a:p>
      </dgm:t>
    </dgm:pt>
    <dgm:pt modelId="{89591776-DA92-4B5E-9F2E-22CC4C2DA597}" type="sibTrans" cxnId="{EB4A6390-1D78-45DA-9B1B-CDB2FE9C942F}">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54FE398B-EB4B-4376-8CAD-D5884C340DB3}" type="pres">
      <dgm:prSet presAssocID="{7E8BFC1C-609E-4A2A-A6DE-56B66744C355}" presName="Name19" presStyleLbl="parChTrans1D2" presStyleIdx="0" presStyleCnt="6"/>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1" presStyleCnt="6"/>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2" presStyleCnt="6"/>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3" presStyleCnt="6"/>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0" presStyleCnt="2"/>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889A4762-3DAB-4D3A-970C-9B5EB089C878}" type="pres">
      <dgm:prSet presAssocID="{A909CCA2-F2D1-4BF7-844D-60E889476A22}" presName="Name19" presStyleLbl="parChTrans1D3" presStyleIdx="1" presStyleCnt="2"/>
      <dgm:spPr/>
    </dgm:pt>
    <dgm:pt modelId="{6F43CC0C-EF75-4C5A-82DC-156E1FF04B0E}" type="pres">
      <dgm:prSet presAssocID="{61FFD111-044A-4BE1-9445-2617C82DC89D}" presName="Name21" presStyleCnt="0"/>
      <dgm:spPr/>
    </dgm:pt>
    <dgm:pt modelId="{8B9AE974-294C-4358-BF24-07E1BB7770F2}" type="pres">
      <dgm:prSet presAssocID="{61FFD111-044A-4BE1-9445-2617C82DC89D}" presName="level2Shape" presStyleLbl="asst1" presStyleIdx="5" presStyleCnt="8"/>
      <dgm:spPr/>
    </dgm:pt>
    <dgm:pt modelId="{FF74A897-7319-4EFC-A661-F079BB4AAB14}" type="pres">
      <dgm:prSet presAssocID="{61FFD111-044A-4BE1-9445-2617C82DC89D}" presName="hierChild3" presStyleCnt="0"/>
      <dgm:spPr/>
    </dgm:pt>
    <dgm:pt modelId="{7AA21635-E323-4213-93F2-9043E3D4FE8B}" type="pres">
      <dgm:prSet presAssocID="{15FCCC77-CAD3-4441-BC89-4813ACAA7CA6}" presName="Name19" presStyleLbl="parChTrans1D2" presStyleIdx="4" presStyleCnt="6"/>
      <dgm:spPr/>
    </dgm:pt>
    <dgm:pt modelId="{9174776B-7F9A-43D3-9235-6C0CFA545E9F}" type="pres">
      <dgm:prSet presAssocID="{600C9D66-7A8B-44F0-A9F4-A8BC5F7BC1E5}" presName="Name21" presStyleCnt="0"/>
      <dgm:spPr/>
    </dgm:pt>
    <dgm:pt modelId="{60EFB09A-C2CB-4EC8-A783-B2648B63E9CB}" type="pres">
      <dgm:prSet presAssocID="{600C9D66-7A8B-44F0-A9F4-A8BC5F7BC1E5}" presName="level2Shape" presStyleLbl="asst1" presStyleIdx="6" presStyleCnt="8" custScaleY="96980"/>
      <dgm:spPr/>
    </dgm:pt>
    <dgm:pt modelId="{8F51EDB5-DB41-4525-BCD1-D281C3D91AEB}" type="pres">
      <dgm:prSet presAssocID="{600C9D66-7A8B-44F0-A9F4-A8BC5F7BC1E5}" presName="hierChild3" presStyleCnt="0"/>
      <dgm:spPr/>
    </dgm:pt>
    <dgm:pt modelId="{74C6BCCD-BD7B-426A-9359-D64450E21E2D}" type="pres">
      <dgm:prSet presAssocID="{BD6659DF-AD63-45F7-9A37-92E5847BA2AA}" presName="Name19" presStyleLbl="parChTrans1D2" presStyleIdx="5" presStyleCnt="6"/>
      <dgm:spPr/>
    </dgm:pt>
    <dgm:pt modelId="{11907ECF-E241-4E1D-8EDD-348FC8294B50}" type="pres">
      <dgm:prSet presAssocID="{6B2DE824-07EB-4CFC-9784-9D065DF9BDFF}" presName="Name21" presStyleCnt="0"/>
      <dgm:spPr/>
    </dgm:pt>
    <dgm:pt modelId="{7A2AE38C-F0BE-4DE0-9CE7-6AA387AF0EF1}" type="pres">
      <dgm:prSet presAssocID="{6B2DE824-07EB-4CFC-9784-9D065DF9BDFF}" presName="level2Shape" presStyleLbl="asst1" presStyleIdx="7" presStyleCnt="8"/>
      <dgm:spPr/>
    </dgm:pt>
    <dgm:pt modelId="{A9018AE4-5267-4DB8-8B42-DEE71ABCF05F}" type="pres">
      <dgm:prSet presAssocID="{6B2DE824-07EB-4CFC-9784-9D065DF9BDFF}" presName="hierChild3" presStyleCnt="0"/>
      <dgm:spPr/>
    </dgm:pt>
    <dgm:pt modelId="{944D2ECF-FF7F-4937-9891-343B25FA2353}" type="pres">
      <dgm:prSet presAssocID="{6E762228-84FE-45B2-9BB6-19E98A9BB7EA}" presName="bgShapesFlow" presStyleCnt="0"/>
      <dgm:spPr/>
    </dgm:pt>
  </dgm:ptLst>
  <dgm:cxnLst>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845F9807-BB07-43BB-A5E1-9AD9178F7F42}" type="presOf" srcId="{61FFD111-044A-4BE1-9445-2617C82DC89D}" destId="{8B9AE974-294C-4358-BF24-07E1BB7770F2}"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B8617E25-688E-475B-8679-A1D87925804B}" srcId="{EC5624F3-2170-43DC-97A6-A153AC2072F1}" destId="{DDFC3CEC-231C-49DE-8234-5A81205F633E}" srcOrd="3" destOrd="0" parTransId="{8258E7A2-05F2-49E4-B3A6-F4702FB05F8A}" sibTransId="{AFF9EF7A-8DCE-46EC-BFDE-38B86F0B3FAA}"/>
    <dgm:cxn modelId="{720BF63F-8354-4C25-962B-83C175427778}" srcId="{EC5624F3-2170-43DC-97A6-A153AC2072F1}" destId="{600C9D66-7A8B-44F0-A9F4-A8BC5F7BC1E5}" srcOrd="4" destOrd="0" parTransId="{15FCCC77-CAD3-4441-BC89-4813ACAA7CA6}" sibTransId="{247DD205-EAAC-439E-8B10-8F2C8F3A9406}"/>
    <dgm:cxn modelId="{7FDD7555-2565-4071-ACB8-ED9C704D5338}" srcId="{6E762228-84FE-45B2-9BB6-19E98A9BB7EA}" destId="{EC5624F3-2170-43DC-97A6-A153AC2072F1}" srcOrd="0" destOrd="0" parTransId="{C80E803B-64F4-4A30-87D2-8ED88166C688}" sibTransId="{A7EC1166-0957-45DC-A9BA-8700F8AB8D72}"/>
    <dgm:cxn modelId="{FBDB4D56-4DBC-4B10-8516-DF739FEDA8A0}" type="presOf" srcId="{DDFC3CEC-231C-49DE-8234-5A81205F633E}" destId="{51E36B6D-BDD4-43C9-BE13-97A72EABE1BB}" srcOrd="0" destOrd="0" presId="urn:microsoft.com/office/officeart/2005/8/layout/hierarchy6"/>
    <dgm:cxn modelId="{AF510379-0EC2-48F4-96CD-A1E088E4B952}" srcId="{EC5624F3-2170-43DC-97A6-A153AC2072F1}" destId="{8C0F6B1E-99DD-484F-9CBB-9F88518A86B5}" srcOrd="2" destOrd="0" parTransId="{668AD6B7-A78E-4D72-8B81-3A80DF104F05}" sibTransId="{36865691-6BD6-4BAF-B077-D21E52EAEB2F}"/>
    <dgm:cxn modelId="{E4114C7D-751A-4C69-9D9C-F6214E9A9AFE}" type="presOf" srcId="{600C9D66-7A8B-44F0-A9F4-A8BC5F7BC1E5}" destId="{60EFB09A-C2CB-4EC8-A783-B2648B63E9CB}" srcOrd="0" destOrd="0" presId="urn:microsoft.com/office/officeart/2005/8/layout/hierarchy6"/>
    <dgm:cxn modelId="{F5D0A57F-67E1-4DBB-935C-3FF2AF202946}" srcId="{EC5624F3-2170-43DC-97A6-A153AC2072F1}" destId="{1E81E9B4-AC06-47E2-948F-7FF9370400A3}" srcOrd="0"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0D78AA81-A8D0-4E7C-9C93-BDDB8C19E708}" type="presOf" srcId="{15FCCC77-CAD3-4441-BC89-4813ACAA7CA6}" destId="{7AA21635-E323-4213-93F2-9043E3D4FE8B}" srcOrd="0" destOrd="0" presId="urn:microsoft.com/office/officeart/2005/8/layout/hierarchy6"/>
    <dgm:cxn modelId="{EB4A6390-1D78-45DA-9B1B-CDB2FE9C942F}" srcId="{EC5624F3-2170-43DC-97A6-A153AC2072F1}" destId="{6B2DE824-07EB-4CFC-9784-9D065DF9BDFF}" srcOrd="5" destOrd="0" parTransId="{BD6659DF-AD63-45F7-9A37-92E5847BA2AA}" sibTransId="{89591776-DA92-4B5E-9F2E-22CC4C2DA597}"/>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C5AFCB3-E9B1-4102-8A2E-9286F9F2C9AE}" type="presOf" srcId="{6B2DE824-07EB-4CFC-9784-9D065DF9BDFF}" destId="{7A2AE38C-F0BE-4DE0-9CE7-6AA387AF0EF1}"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580E97DF-5E75-497C-8398-A18E826F4EA1}" type="presOf" srcId="{BD6659DF-AD63-45F7-9A37-92E5847BA2AA}" destId="{74C6BCCD-BD7B-426A-9359-D64450E21E2D}"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1" destOrd="0" parTransId="{7CC9B32C-12C5-4169-B087-595C8A48B4F8}" sibTransId="{3F8FBFB1-A037-4F4B-ABEC-A34AE5D26573}"/>
    <dgm:cxn modelId="{0C1367F9-7D22-4961-AC4D-A06F122EDEB9}" type="presOf" srcId="{A909CCA2-F2D1-4BF7-844D-60E889476A22}" destId="{889A4762-3DAB-4D3A-970C-9B5EB089C878}" srcOrd="0" destOrd="0" presId="urn:microsoft.com/office/officeart/2005/8/layout/hierarchy6"/>
    <dgm:cxn modelId="{9AA97BFB-4AB6-4D9C-AEE2-41E117FB3C75}" srcId="{DDFC3CEC-231C-49DE-8234-5A81205F633E}" destId="{61FFD111-044A-4BE1-9445-2617C82DC89D}" srcOrd="1" destOrd="0" parTransId="{A909CCA2-F2D1-4BF7-844D-60E889476A22}" sibTransId="{A2C2869B-F314-4BFB-8CC0-7B824D1F4F9C}"/>
    <dgm:cxn modelId="{8EE8B4FB-9F00-49F3-93F2-BD74E32AB9B4}" type="presOf" srcId="{7CC9B32C-12C5-4169-B087-595C8A48B4F8}" destId="{54FC7E62-6BC8-4117-AE83-F7D461A58C56}"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353D24E6-5290-4293-91DE-3D3983568F6E}" type="presParOf" srcId="{A65EEE17-B142-4395-9440-82681C1ADA87}" destId="{54FE398B-EB4B-4376-8CAD-D5884C340DB3}" srcOrd="0" destOrd="0" presId="urn:microsoft.com/office/officeart/2005/8/layout/hierarchy6"/>
    <dgm:cxn modelId="{548B0342-3944-40CA-8C73-5DD5EF7718D9}" type="presParOf" srcId="{A65EEE17-B142-4395-9440-82681C1ADA87}" destId="{340CDDD0-A67E-4157-8216-8DBB2B39CE6F}" srcOrd="1"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2" destOrd="0" presId="urn:microsoft.com/office/officeart/2005/8/layout/hierarchy6"/>
    <dgm:cxn modelId="{7E0FA62D-D0F3-4E5E-92EE-6EFA63C03AE6}" type="presParOf" srcId="{A65EEE17-B142-4395-9440-82681C1ADA87}" destId="{31CDE861-2E03-41FC-BAB0-7E58EF755624}" srcOrd="3"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4" destOrd="0" presId="urn:microsoft.com/office/officeart/2005/8/layout/hierarchy6"/>
    <dgm:cxn modelId="{A41DD5E4-92FB-4361-852F-8D76BC59B8DC}" type="presParOf" srcId="{A65EEE17-B142-4395-9440-82681C1ADA87}" destId="{D42A201D-B7E7-4CD9-9B50-D25D27FE443E}" srcOrd="5"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6" destOrd="0" presId="urn:microsoft.com/office/officeart/2005/8/layout/hierarchy6"/>
    <dgm:cxn modelId="{CFD5268B-1B30-4140-870E-E0D505D5F88B}" type="presParOf" srcId="{A65EEE17-B142-4395-9440-82681C1ADA87}" destId="{C03833A0-38F9-4B9D-91CE-742AB1C3F9B8}" srcOrd="7"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5F9DAD57-64CB-4A0E-8A78-006FAA9CD0FF}" type="presParOf" srcId="{1C1DFDCA-7A9A-430B-9449-7A269E0F64BD}" destId="{889A4762-3DAB-4D3A-970C-9B5EB089C878}" srcOrd="2" destOrd="0" presId="urn:microsoft.com/office/officeart/2005/8/layout/hierarchy6"/>
    <dgm:cxn modelId="{5F1CA09F-8631-47D1-A4C5-25D5C3C2BB3C}" type="presParOf" srcId="{1C1DFDCA-7A9A-430B-9449-7A269E0F64BD}" destId="{6F43CC0C-EF75-4C5A-82DC-156E1FF04B0E}" srcOrd="3" destOrd="0" presId="urn:microsoft.com/office/officeart/2005/8/layout/hierarchy6"/>
    <dgm:cxn modelId="{9044BFF2-4928-41B3-9383-EDB57301339A}" type="presParOf" srcId="{6F43CC0C-EF75-4C5A-82DC-156E1FF04B0E}" destId="{8B9AE974-294C-4358-BF24-07E1BB7770F2}" srcOrd="0" destOrd="0" presId="urn:microsoft.com/office/officeart/2005/8/layout/hierarchy6"/>
    <dgm:cxn modelId="{32EA5E1A-A647-4A6E-8A73-01A59EC6E016}" type="presParOf" srcId="{6F43CC0C-EF75-4C5A-82DC-156E1FF04B0E}" destId="{FF74A897-7319-4EFC-A661-F079BB4AAB14}" srcOrd="1" destOrd="0" presId="urn:microsoft.com/office/officeart/2005/8/layout/hierarchy6"/>
    <dgm:cxn modelId="{A163ACA0-0CEA-4A68-839B-270C05104CB7}" type="presParOf" srcId="{A65EEE17-B142-4395-9440-82681C1ADA87}" destId="{7AA21635-E323-4213-93F2-9043E3D4FE8B}" srcOrd="8" destOrd="0" presId="urn:microsoft.com/office/officeart/2005/8/layout/hierarchy6"/>
    <dgm:cxn modelId="{D1B1BF6C-65F3-48E0-A768-38E994172B19}" type="presParOf" srcId="{A65EEE17-B142-4395-9440-82681C1ADA87}" destId="{9174776B-7F9A-43D3-9235-6C0CFA545E9F}" srcOrd="9" destOrd="0" presId="urn:microsoft.com/office/officeart/2005/8/layout/hierarchy6"/>
    <dgm:cxn modelId="{AD0DB1F0-4C02-405A-9D41-8281FEE8CC65}" type="presParOf" srcId="{9174776B-7F9A-43D3-9235-6C0CFA545E9F}" destId="{60EFB09A-C2CB-4EC8-A783-B2648B63E9CB}" srcOrd="0" destOrd="0" presId="urn:microsoft.com/office/officeart/2005/8/layout/hierarchy6"/>
    <dgm:cxn modelId="{C9DAFB5D-6720-4F73-9A00-DD30D388ECC8}" type="presParOf" srcId="{9174776B-7F9A-43D3-9235-6C0CFA545E9F}" destId="{8F51EDB5-DB41-4525-BCD1-D281C3D91AEB}" srcOrd="1" destOrd="0" presId="urn:microsoft.com/office/officeart/2005/8/layout/hierarchy6"/>
    <dgm:cxn modelId="{84291458-198A-4660-A340-CE89C55BB3D0}" type="presParOf" srcId="{A65EEE17-B142-4395-9440-82681C1ADA87}" destId="{74C6BCCD-BD7B-426A-9359-D64450E21E2D}" srcOrd="10" destOrd="0" presId="urn:microsoft.com/office/officeart/2005/8/layout/hierarchy6"/>
    <dgm:cxn modelId="{A5DFE394-BD50-4678-8D5F-0D3A4E92AD45}" type="presParOf" srcId="{A65EEE17-B142-4395-9440-82681C1ADA87}" destId="{11907ECF-E241-4E1D-8EDD-348FC8294B50}" srcOrd="11" destOrd="0" presId="urn:microsoft.com/office/officeart/2005/8/layout/hierarchy6"/>
    <dgm:cxn modelId="{13EE9920-B0D6-4511-BA1D-8FA771B54811}" type="presParOf" srcId="{11907ECF-E241-4E1D-8EDD-348FC8294B50}" destId="{7A2AE38C-F0BE-4DE0-9CE7-6AA387AF0EF1}" srcOrd="0" destOrd="0" presId="urn:microsoft.com/office/officeart/2005/8/layout/hierarchy6"/>
    <dgm:cxn modelId="{EEA0557F-FE5B-46C4-9599-5E41DFECC7AA}" type="presParOf" srcId="{11907ECF-E241-4E1D-8EDD-348FC8294B50}" destId="{A9018AE4-5267-4DB8-8B42-DEE71ABCF05F}"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CAC6E89-8D61-41CE-B485-D446E81BC557}"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en-US"/>
        </a:p>
      </dgm:t>
    </dgm:pt>
    <dgm:pt modelId="{FB9E8E93-E505-4F61-B986-63526300BB1E}">
      <dgm:prSet phldrT="[Text]" phldr="0"/>
      <dgm:spPr/>
      <dgm:t>
        <a:bodyPr/>
        <a:lstStyle/>
        <a:p>
          <a:r>
            <a:rPr lang="en-US" b="1" dirty="0"/>
            <a:t>Parameter Sensitive Plans Today</a:t>
          </a:r>
        </a:p>
      </dgm:t>
    </dgm:pt>
    <dgm:pt modelId="{0A28C454-11D4-48BA-B856-5DF1A51C6CA8}" type="parTrans" cxnId="{50B68244-667E-4A60-9DBF-40708B2B7104}">
      <dgm:prSet/>
      <dgm:spPr/>
      <dgm:t>
        <a:bodyPr/>
        <a:lstStyle/>
        <a:p>
          <a:endParaRPr lang="en-US"/>
        </a:p>
      </dgm:t>
    </dgm:pt>
    <dgm:pt modelId="{D0DB3B49-9806-45F0-815F-F683F3A245D5}" type="sibTrans" cxnId="{50B68244-667E-4A60-9DBF-40708B2B7104}">
      <dgm:prSet/>
      <dgm:spPr/>
      <dgm:t>
        <a:bodyPr/>
        <a:lstStyle/>
        <a:p>
          <a:endParaRPr lang="en-US"/>
        </a:p>
      </dgm:t>
    </dgm:pt>
    <dgm:pt modelId="{A654B2B1-C9D2-4EB8-AF32-8F6E55E2795A}">
      <dgm:prSet phldrT="[Text]" phldr="0"/>
      <dgm:spPr/>
      <dgm:t>
        <a:bodyPr/>
        <a:lstStyle/>
        <a:p>
          <a:r>
            <a:rPr lang="en-US" dirty="0">
              <a:latin typeface="+mn-lt"/>
            </a:rPr>
            <a:t>Parameter-sniffing problem refers to a scenario where a </a:t>
          </a:r>
          <a:r>
            <a:rPr lang="en-US" b="1" dirty="0">
              <a:latin typeface="+mn-lt"/>
            </a:rPr>
            <a:t>single</a:t>
          </a:r>
          <a:r>
            <a:rPr lang="en-US" dirty="0">
              <a:latin typeface="+mn-lt"/>
            </a:rPr>
            <a:t> cached plan for a parameterized query is </a:t>
          </a:r>
          <a:r>
            <a:rPr lang="en-US" b="1" dirty="0">
              <a:latin typeface="+mn-lt"/>
            </a:rPr>
            <a:t>not optimal for all </a:t>
          </a:r>
          <a:r>
            <a:rPr lang="en-US" dirty="0">
              <a:latin typeface="+mn-lt"/>
            </a:rPr>
            <a:t>possible input parameter values</a:t>
          </a:r>
          <a:endParaRPr lang="en-US" b="0" dirty="0"/>
        </a:p>
      </dgm:t>
    </dgm:pt>
    <dgm:pt modelId="{CBA502F4-88E7-406E-95E5-6DC4445E9C2C}" type="parTrans" cxnId="{91054B0F-CFC9-4B13-8ACC-026099ED3D6F}">
      <dgm:prSet/>
      <dgm:spPr/>
      <dgm:t>
        <a:bodyPr/>
        <a:lstStyle/>
        <a:p>
          <a:endParaRPr lang="en-US"/>
        </a:p>
      </dgm:t>
    </dgm:pt>
    <dgm:pt modelId="{9C833BE3-3094-478A-8F33-507752BF4F20}" type="sibTrans" cxnId="{91054B0F-CFC9-4B13-8ACC-026099ED3D6F}">
      <dgm:prSet/>
      <dgm:spPr/>
      <dgm:t>
        <a:bodyPr/>
        <a:lstStyle/>
        <a:p>
          <a:endParaRPr lang="en-US"/>
        </a:p>
      </dgm:t>
    </dgm:pt>
    <dgm:pt modelId="{603570B6-A9B3-4503-9657-40D4D8DA2DBE}">
      <dgm:prSet/>
      <dgm:spPr/>
      <dgm:t>
        <a:bodyPr/>
        <a:lstStyle/>
        <a:p>
          <a:r>
            <a:rPr lang="en-US"/>
            <a:t>RECOMPILE</a:t>
          </a:r>
          <a:endParaRPr lang="en-US" dirty="0"/>
        </a:p>
      </dgm:t>
    </dgm:pt>
    <dgm:pt modelId="{536C0EB9-D4E7-47EC-91E3-67CC6342F1D7}" type="parTrans" cxnId="{CC9C692B-A428-4FFE-A59D-800E099B7A27}">
      <dgm:prSet/>
      <dgm:spPr/>
      <dgm:t>
        <a:bodyPr/>
        <a:lstStyle/>
        <a:p>
          <a:endParaRPr lang="en-US"/>
        </a:p>
      </dgm:t>
    </dgm:pt>
    <dgm:pt modelId="{E2A3079E-CE9A-4ACA-9C99-48A993D554B8}" type="sibTrans" cxnId="{CC9C692B-A428-4FFE-A59D-800E099B7A27}">
      <dgm:prSet/>
      <dgm:spPr/>
      <dgm:t>
        <a:bodyPr/>
        <a:lstStyle/>
        <a:p>
          <a:endParaRPr lang="en-US"/>
        </a:p>
      </dgm:t>
    </dgm:pt>
    <dgm:pt modelId="{FECC6121-E28F-4BE0-AE1C-747308641080}">
      <dgm:prSet phldrT="[Text]" phldr="0"/>
      <dgm:spPr/>
      <dgm:t>
        <a:bodyPr/>
        <a:lstStyle/>
        <a:p>
          <a:r>
            <a:rPr lang="en-US" b="1" dirty="0"/>
            <a:t>Current Workarounds</a:t>
          </a:r>
        </a:p>
      </dgm:t>
    </dgm:pt>
    <dgm:pt modelId="{906B4977-F3E5-4B93-83EB-11FC5247CDFD}" type="parTrans" cxnId="{A27048B4-F2AE-411E-BF82-923F64C4A9B5}">
      <dgm:prSet/>
      <dgm:spPr/>
      <dgm:t>
        <a:bodyPr/>
        <a:lstStyle/>
        <a:p>
          <a:endParaRPr lang="en-US"/>
        </a:p>
      </dgm:t>
    </dgm:pt>
    <dgm:pt modelId="{01681DA4-66CE-4A55-A9E2-6D4658A7195F}" type="sibTrans" cxnId="{A27048B4-F2AE-411E-BF82-923F64C4A9B5}">
      <dgm:prSet/>
      <dgm:spPr/>
      <dgm:t>
        <a:bodyPr/>
        <a:lstStyle/>
        <a:p>
          <a:endParaRPr lang="en-US"/>
        </a:p>
      </dgm:t>
    </dgm:pt>
    <dgm:pt modelId="{92CB7DAD-CAB5-4D0B-9639-27F3E09056A1}">
      <dgm:prSet phldrT="[Text]" phldr="0"/>
      <dgm:spPr/>
      <dgm:t>
        <a:bodyPr/>
        <a:lstStyle/>
        <a:p>
          <a:r>
            <a:rPr lang="en-US" dirty="0">
              <a:latin typeface="+mn-lt"/>
            </a:rPr>
            <a:t>If plan is not representative of most executions, you have a perceived “bad plan”</a:t>
          </a:r>
          <a:endParaRPr lang="en-US" b="0" dirty="0"/>
        </a:p>
      </dgm:t>
    </dgm:pt>
    <dgm:pt modelId="{6CA1768C-402D-4696-A191-6101BE052A70}" type="parTrans" cxnId="{0A619743-493D-4EE4-B4F0-E8D5DC9A8119}">
      <dgm:prSet/>
      <dgm:spPr/>
      <dgm:t>
        <a:bodyPr/>
        <a:lstStyle/>
        <a:p>
          <a:endParaRPr lang="en-US"/>
        </a:p>
      </dgm:t>
    </dgm:pt>
    <dgm:pt modelId="{9B44B2A1-444C-482C-B5DF-081283522B44}" type="sibTrans" cxnId="{0A619743-493D-4EE4-B4F0-E8D5DC9A8119}">
      <dgm:prSet/>
      <dgm:spPr/>
      <dgm:t>
        <a:bodyPr/>
        <a:lstStyle/>
        <a:p>
          <a:endParaRPr lang="en-US"/>
        </a:p>
      </dgm:t>
    </dgm:pt>
    <dgm:pt modelId="{6BDE6565-DA93-4269-804E-8B811DD234C9}">
      <dgm:prSet/>
      <dgm:spPr/>
      <dgm:t>
        <a:bodyPr/>
        <a:lstStyle/>
        <a:p>
          <a:r>
            <a:rPr lang="en-US"/>
            <a:t>OPTION (OPTIMIZE FOR…)</a:t>
          </a:r>
        </a:p>
      </dgm:t>
    </dgm:pt>
    <dgm:pt modelId="{9712CA9B-D579-4095-9300-A7981223BDAE}" type="parTrans" cxnId="{22E95F8A-928E-44FC-A451-B57484B19CC9}">
      <dgm:prSet/>
      <dgm:spPr/>
      <dgm:t>
        <a:bodyPr/>
        <a:lstStyle/>
        <a:p>
          <a:endParaRPr lang="en-US"/>
        </a:p>
      </dgm:t>
    </dgm:pt>
    <dgm:pt modelId="{FCCFA110-CE50-49DC-BD30-6245ED4B7D1D}" type="sibTrans" cxnId="{22E95F8A-928E-44FC-A451-B57484B19CC9}">
      <dgm:prSet/>
      <dgm:spPr/>
      <dgm:t>
        <a:bodyPr/>
        <a:lstStyle/>
        <a:p>
          <a:endParaRPr lang="en-US"/>
        </a:p>
      </dgm:t>
    </dgm:pt>
    <dgm:pt modelId="{DC7A34C3-5303-4371-B5A2-DFA88E739090}">
      <dgm:prSet/>
      <dgm:spPr/>
      <dgm:t>
        <a:bodyPr/>
        <a:lstStyle/>
        <a:p>
          <a:r>
            <a:rPr lang="en-US" dirty="0"/>
            <a:t>OPTION (OPTIMIZE FOR UNKNOWN)</a:t>
          </a:r>
        </a:p>
      </dgm:t>
    </dgm:pt>
    <dgm:pt modelId="{8E5D3D32-2F23-408F-BF9B-450344F2F7B2}" type="parTrans" cxnId="{1A2E3AFD-5AFE-49AA-BEFA-3FDB3B8D1CD2}">
      <dgm:prSet/>
      <dgm:spPr/>
      <dgm:t>
        <a:bodyPr/>
        <a:lstStyle/>
        <a:p>
          <a:endParaRPr lang="en-US"/>
        </a:p>
      </dgm:t>
    </dgm:pt>
    <dgm:pt modelId="{1A06DA28-F134-4E2E-A2B6-F6BA104CEDF7}" type="sibTrans" cxnId="{1A2E3AFD-5AFE-49AA-BEFA-3FDB3B8D1CD2}">
      <dgm:prSet/>
      <dgm:spPr/>
      <dgm:t>
        <a:bodyPr/>
        <a:lstStyle/>
        <a:p>
          <a:endParaRPr lang="en-US"/>
        </a:p>
      </dgm:t>
    </dgm:pt>
    <dgm:pt modelId="{AB46ADF8-9EC3-4C76-920D-FBACAC84DFAF}">
      <dgm:prSet/>
      <dgm:spPr/>
      <dgm:t>
        <a:bodyPr/>
        <a:lstStyle/>
        <a:p>
          <a:r>
            <a:rPr lang="en-US" dirty="0"/>
            <a:t>Disable parameter sniffing entirely </a:t>
          </a:r>
        </a:p>
      </dgm:t>
    </dgm:pt>
    <dgm:pt modelId="{1CB3804E-5754-421E-9AC0-49A005B1EB55}" type="parTrans" cxnId="{1C30F95F-6260-475D-939E-273D79B397AC}">
      <dgm:prSet/>
      <dgm:spPr/>
      <dgm:t>
        <a:bodyPr/>
        <a:lstStyle/>
        <a:p>
          <a:endParaRPr lang="en-US"/>
        </a:p>
      </dgm:t>
    </dgm:pt>
    <dgm:pt modelId="{9DDFA32B-E62D-499D-A456-688A4790E5D3}" type="sibTrans" cxnId="{1C30F95F-6260-475D-939E-273D79B397AC}">
      <dgm:prSet/>
      <dgm:spPr/>
      <dgm:t>
        <a:bodyPr/>
        <a:lstStyle/>
        <a:p>
          <a:endParaRPr lang="en-US"/>
        </a:p>
      </dgm:t>
    </dgm:pt>
    <dgm:pt modelId="{58DE9527-F41D-4BFB-9F76-D77FE1577170}">
      <dgm:prSet/>
      <dgm:spPr/>
      <dgm:t>
        <a:bodyPr/>
        <a:lstStyle/>
        <a:p>
          <a:r>
            <a:rPr lang="en-US" dirty="0"/>
            <a:t>KEEPFIXEDPLAN</a:t>
          </a:r>
        </a:p>
      </dgm:t>
    </dgm:pt>
    <dgm:pt modelId="{772E7FE7-6877-4082-A69E-E332EB00FDCB}" type="parTrans" cxnId="{0DFF7885-A1AB-4C98-A3EE-698EC89CE00A}">
      <dgm:prSet/>
      <dgm:spPr/>
      <dgm:t>
        <a:bodyPr/>
        <a:lstStyle/>
        <a:p>
          <a:endParaRPr lang="en-US"/>
        </a:p>
      </dgm:t>
    </dgm:pt>
    <dgm:pt modelId="{9E5568E7-AA25-4E33-B782-8E0CCE3CD8A8}" type="sibTrans" cxnId="{0DFF7885-A1AB-4C98-A3EE-698EC89CE00A}">
      <dgm:prSet/>
      <dgm:spPr/>
      <dgm:t>
        <a:bodyPr/>
        <a:lstStyle/>
        <a:p>
          <a:endParaRPr lang="en-US"/>
        </a:p>
      </dgm:t>
    </dgm:pt>
    <dgm:pt modelId="{191D4A74-DE33-4CA0-8E59-E7263D7EDBFF}">
      <dgm:prSet/>
      <dgm:spPr/>
      <dgm:t>
        <a:bodyPr/>
        <a:lstStyle/>
        <a:p>
          <a:r>
            <a:rPr lang="en-US"/>
            <a:t>Force a known plan</a:t>
          </a:r>
        </a:p>
      </dgm:t>
    </dgm:pt>
    <dgm:pt modelId="{4DD1E6CD-F976-42CC-AD9E-EA117ED8CC50}" type="parTrans" cxnId="{A64AB011-4355-4815-8A08-C4EE5197DBF8}">
      <dgm:prSet/>
      <dgm:spPr/>
      <dgm:t>
        <a:bodyPr/>
        <a:lstStyle/>
        <a:p>
          <a:endParaRPr lang="en-US"/>
        </a:p>
      </dgm:t>
    </dgm:pt>
    <dgm:pt modelId="{B5B2BAB8-DE27-4531-AEFF-B30AC4F0F424}" type="sibTrans" cxnId="{A64AB011-4355-4815-8A08-C4EE5197DBF8}">
      <dgm:prSet/>
      <dgm:spPr/>
      <dgm:t>
        <a:bodyPr/>
        <a:lstStyle/>
        <a:p>
          <a:endParaRPr lang="en-US"/>
        </a:p>
      </dgm:t>
    </dgm:pt>
    <dgm:pt modelId="{762E3DA8-537E-4034-B770-ED9AE8FE14DB}">
      <dgm:prSet/>
      <dgm:spPr/>
      <dgm:t>
        <a:bodyPr/>
        <a:lstStyle/>
        <a:p>
          <a:r>
            <a:rPr lang="en-US" dirty="0"/>
            <a:t>Nested procedures</a:t>
          </a:r>
        </a:p>
      </dgm:t>
    </dgm:pt>
    <dgm:pt modelId="{777C9AF4-4AF3-420B-BDB0-9487EA084827}" type="parTrans" cxnId="{C35493D8-234C-422D-84FA-9CBD42D71B1C}">
      <dgm:prSet/>
      <dgm:spPr/>
      <dgm:t>
        <a:bodyPr/>
        <a:lstStyle/>
        <a:p>
          <a:endParaRPr lang="en-US"/>
        </a:p>
      </dgm:t>
    </dgm:pt>
    <dgm:pt modelId="{B31A1121-F0DA-4D4B-BB71-C5EBA101A1F7}" type="sibTrans" cxnId="{C35493D8-234C-422D-84FA-9CBD42D71B1C}">
      <dgm:prSet/>
      <dgm:spPr/>
      <dgm:t>
        <a:bodyPr/>
        <a:lstStyle/>
        <a:p>
          <a:endParaRPr lang="en-US"/>
        </a:p>
      </dgm:t>
    </dgm:pt>
    <dgm:pt modelId="{22CEDA83-D5A0-48DB-8163-E40BFC900E3A}">
      <dgm:prSet/>
      <dgm:spPr/>
      <dgm:t>
        <a:bodyPr/>
        <a:lstStyle/>
        <a:p>
          <a:r>
            <a:rPr lang="en-US" dirty="0"/>
            <a:t>Dynamic string execution</a:t>
          </a:r>
        </a:p>
      </dgm:t>
    </dgm:pt>
    <dgm:pt modelId="{FFA84FBB-5C0E-4271-ADEC-F93B38D5AC82}" type="parTrans" cxnId="{9E49E00B-EE5E-46BC-A929-4110C97F26F0}">
      <dgm:prSet/>
      <dgm:spPr/>
      <dgm:t>
        <a:bodyPr/>
        <a:lstStyle/>
        <a:p>
          <a:endParaRPr lang="en-US"/>
        </a:p>
      </dgm:t>
    </dgm:pt>
    <dgm:pt modelId="{641045D7-E9BC-4DA4-8321-010DF4C62CB0}" type="sibTrans" cxnId="{9E49E00B-EE5E-46BC-A929-4110C97F26F0}">
      <dgm:prSet/>
      <dgm:spPr/>
      <dgm:t>
        <a:bodyPr/>
        <a:lstStyle/>
        <a:p>
          <a:endParaRPr lang="en-US"/>
        </a:p>
      </dgm:t>
    </dgm:pt>
    <dgm:pt modelId="{B902A285-C333-498D-BE6D-38566E131EA4}" type="pres">
      <dgm:prSet presAssocID="{5CAC6E89-8D61-41CE-B485-D446E81BC557}" presName="linear" presStyleCnt="0">
        <dgm:presLayoutVars>
          <dgm:dir/>
          <dgm:animLvl val="lvl"/>
          <dgm:resizeHandles val="exact"/>
        </dgm:presLayoutVars>
      </dgm:prSet>
      <dgm:spPr/>
    </dgm:pt>
    <dgm:pt modelId="{C3BC5FA1-3063-48EB-BF7F-D5688F371B16}" type="pres">
      <dgm:prSet presAssocID="{FB9E8E93-E505-4F61-B986-63526300BB1E}" presName="parentLin" presStyleCnt="0"/>
      <dgm:spPr/>
    </dgm:pt>
    <dgm:pt modelId="{BE7C517D-9004-4120-A6EC-1DBE8358D631}" type="pres">
      <dgm:prSet presAssocID="{FB9E8E93-E505-4F61-B986-63526300BB1E}" presName="parentLeftMargin" presStyleLbl="node1" presStyleIdx="0" presStyleCnt="2"/>
      <dgm:spPr/>
    </dgm:pt>
    <dgm:pt modelId="{09DF4224-3D80-47D7-B2BA-0A0BBC33BA22}" type="pres">
      <dgm:prSet presAssocID="{FB9E8E93-E505-4F61-B986-63526300BB1E}" presName="parentText" presStyleLbl="node1" presStyleIdx="0" presStyleCnt="2">
        <dgm:presLayoutVars>
          <dgm:chMax val="0"/>
          <dgm:bulletEnabled val="1"/>
        </dgm:presLayoutVars>
      </dgm:prSet>
      <dgm:spPr/>
    </dgm:pt>
    <dgm:pt modelId="{7C729CE2-889A-4AD4-96E2-478372BD9263}" type="pres">
      <dgm:prSet presAssocID="{FB9E8E93-E505-4F61-B986-63526300BB1E}" presName="negativeSpace" presStyleCnt="0"/>
      <dgm:spPr/>
    </dgm:pt>
    <dgm:pt modelId="{F2611699-6C85-4FBF-AB47-DBD3C7959DCE}" type="pres">
      <dgm:prSet presAssocID="{FB9E8E93-E505-4F61-B986-63526300BB1E}" presName="childText" presStyleLbl="conFgAcc1" presStyleIdx="0" presStyleCnt="2">
        <dgm:presLayoutVars>
          <dgm:bulletEnabled val="1"/>
        </dgm:presLayoutVars>
      </dgm:prSet>
      <dgm:spPr/>
    </dgm:pt>
    <dgm:pt modelId="{D0489F86-43E1-45D4-A0BE-724C960BF713}" type="pres">
      <dgm:prSet presAssocID="{D0DB3B49-9806-45F0-815F-F683F3A245D5}" presName="spaceBetweenRectangles" presStyleCnt="0"/>
      <dgm:spPr/>
    </dgm:pt>
    <dgm:pt modelId="{60F703C6-E9B5-4E10-87DC-F22DE0392E69}" type="pres">
      <dgm:prSet presAssocID="{FECC6121-E28F-4BE0-AE1C-747308641080}" presName="parentLin" presStyleCnt="0"/>
      <dgm:spPr/>
    </dgm:pt>
    <dgm:pt modelId="{650EC44F-F836-4943-AC39-1C53DC90C16F}" type="pres">
      <dgm:prSet presAssocID="{FECC6121-E28F-4BE0-AE1C-747308641080}" presName="parentLeftMargin" presStyleLbl="node1" presStyleIdx="0" presStyleCnt="2"/>
      <dgm:spPr/>
    </dgm:pt>
    <dgm:pt modelId="{8EDC92CE-1AB4-4FAD-8EB9-3304E9FB1C42}" type="pres">
      <dgm:prSet presAssocID="{FECC6121-E28F-4BE0-AE1C-747308641080}" presName="parentText" presStyleLbl="node1" presStyleIdx="1" presStyleCnt="2">
        <dgm:presLayoutVars>
          <dgm:chMax val="0"/>
          <dgm:bulletEnabled val="1"/>
        </dgm:presLayoutVars>
      </dgm:prSet>
      <dgm:spPr/>
    </dgm:pt>
    <dgm:pt modelId="{F6542E23-8949-4197-AC32-5529996D8DDA}" type="pres">
      <dgm:prSet presAssocID="{FECC6121-E28F-4BE0-AE1C-747308641080}" presName="negativeSpace" presStyleCnt="0"/>
      <dgm:spPr/>
    </dgm:pt>
    <dgm:pt modelId="{1738A5E9-7294-453F-BC26-FB76949CBB6D}" type="pres">
      <dgm:prSet presAssocID="{FECC6121-E28F-4BE0-AE1C-747308641080}" presName="childText" presStyleLbl="conFgAcc1" presStyleIdx="1" presStyleCnt="2">
        <dgm:presLayoutVars>
          <dgm:bulletEnabled val="1"/>
        </dgm:presLayoutVars>
      </dgm:prSet>
      <dgm:spPr/>
    </dgm:pt>
  </dgm:ptLst>
  <dgm:cxnLst>
    <dgm:cxn modelId="{9E49E00B-EE5E-46BC-A929-4110C97F26F0}" srcId="{FECC6121-E28F-4BE0-AE1C-747308641080}" destId="{22CEDA83-D5A0-48DB-8163-E40BFC900E3A}" srcOrd="7" destOrd="0" parTransId="{FFA84FBB-5C0E-4271-ADEC-F93B38D5AC82}" sibTransId="{641045D7-E9BC-4DA4-8321-010DF4C62CB0}"/>
    <dgm:cxn modelId="{91054B0F-CFC9-4B13-8ACC-026099ED3D6F}" srcId="{FB9E8E93-E505-4F61-B986-63526300BB1E}" destId="{A654B2B1-C9D2-4EB8-AF32-8F6E55E2795A}" srcOrd="0" destOrd="0" parTransId="{CBA502F4-88E7-406E-95E5-6DC4445E9C2C}" sibTransId="{9C833BE3-3094-478A-8F33-507752BF4F20}"/>
    <dgm:cxn modelId="{A64AB011-4355-4815-8A08-C4EE5197DBF8}" srcId="{FECC6121-E28F-4BE0-AE1C-747308641080}" destId="{191D4A74-DE33-4CA0-8E59-E7263D7EDBFF}" srcOrd="5" destOrd="0" parTransId="{4DD1E6CD-F976-42CC-AD9E-EA117ED8CC50}" sibTransId="{B5B2BAB8-DE27-4531-AEFF-B30AC4F0F424}"/>
    <dgm:cxn modelId="{3644A218-DE81-4E33-A6D3-A7DB679C6880}" type="presOf" srcId="{AB46ADF8-9EC3-4C76-920D-FBACAC84DFAF}" destId="{1738A5E9-7294-453F-BC26-FB76949CBB6D}" srcOrd="0" destOrd="3" presId="urn:microsoft.com/office/officeart/2005/8/layout/list1"/>
    <dgm:cxn modelId="{CC9C692B-A428-4FFE-A59D-800E099B7A27}" srcId="{FECC6121-E28F-4BE0-AE1C-747308641080}" destId="{603570B6-A9B3-4503-9657-40D4D8DA2DBE}" srcOrd="0" destOrd="0" parTransId="{536C0EB9-D4E7-47EC-91E3-67CC6342F1D7}" sibTransId="{E2A3079E-CE9A-4ACA-9C99-48A993D554B8}"/>
    <dgm:cxn modelId="{BE498D32-DC0E-4EE0-91FC-219787506027}" type="presOf" srcId="{22CEDA83-D5A0-48DB-8163-E40BFC900E3A}" destId="{1738A5E9-7294-453F-BC26-FB76949CBB6D}" srcOrd="0" destOrd="7" presId="urn:microsoft.com/office/officeart/2005/8/layout/list1"/>
    <dgm:cxn modelId="{BD13F25F-FC2A-48F6-BC9A-849DC4BBD562}" type="presOf" srcId="{5CAC6E89-8D61-41CE-B485-D446E81BC557}" destId="{B902A285-C333-498D-BE6D-38566E131EA4}" srcOrd="0" destOrd="0" presId="urn:microsoft.com/office/officeart/2005/8/layout/list1"/>
    <dgm:cxn modelId="{1C30F95F-6260-475D-939E-273D79B397AC}" srcId="{FECC6121-E28F-4BE0-AE1C-747308641080}" destId="{AB46ADF8-9EC3-4C76-920D-FBACAC84DFAF}" srcOrd="3" destOrd="0" parTransId="{1CB3804E-5754-421E-9AC0-49A005B1EB55}" sibTransId="{9DDFA32B-E62D-499D-A456-688A4790E5D3}"/>
    <dgm:cxn modelId="{0A619743-493D-4EE4-B4F0-E8D5DC9A8119}" srcId="{FB9E8E93-E505-4F61-B986-63526300BB1E}" destId="{92CB7DAD-CAB5-4D0B-9639-27F3E09056A1}" srcOrd="1" destOrd="0" parTransId="{6CA1768C-402D-4696-A191-6101BE052A70}" sibTransId="{9B44B2A1-444C-482C-B5DF-081283522B44}"/>
    <dgm:cxn modelId="{50B68244-667E-4A60-9DBF-40708B2B7104}" srcId="{5CAC6E89-8D61-41CE-B485-D446E81BC557}" destId="{FB9E8E93-E505-4F61-B986-63526300BB1E}" srcOrd="0" destOrd="0" parTransId="{0A28C454-11D4-48BA-B856-5DF1A51C6CA8}" sibTransId="{D0DB3B49-9806-45F0-815F-F683F3A245D5}"/>
    <dgm:cxn modelId="{9DE01046-E1EF-447E-B58D-5F3A659719FD}" type="presOf" srcId="{FB9E8E93-E505-4F61-B986-63526300BB1E}" destId="{09DF4224-3D80-47D7-B2BA-0A0BBC33BA22}" srcOrd="1" destOrd="0" presId="urn:microsoft.com/office/officeart/2005/8/layout/list1"/>
    <dgm:cxn modelId="{4EB11F46-7A4A-4AE4-A598-8FE4F6A30BF7}" type="presOf" srcId="{92CB7DAD-CAB5-4D0B-9639-27F3E09056A1}" destId="{F2611699-6C85-4FBF-AB47-DBD3C7959DCE}" srcOrd="0" destOrd="1" presId="urn:microsoft.com/office/officeart/2005/8/layout/list1"/>
    <dgm:cxn modelId="{4E0B036F-865D-434A-8BF8-AE78B2E3BB72}" type="presOf" srcId="{FECC6121-E28F-4BE0-AE1C-747308641080}" destId="{8EDC92CE-1AB4-4FAD-8EB9-3304E9FB1C42}" srcOrd="1" destOrd="0" presId="urn:microsoft.com/office/officeart/2005/8/layout/list1"/>
    <dgm:cxn modelId="{0DFF7885-A1AB-4C98-A3EE-698EC89CE00A}" srcId="{FECC6121-E28F-4BE0-AE1C-747308641080}" destId="{58DE9527-F41D-4BFB-9F76-D77FE1577170}" srcOrd="4" destOrd="0" parTransId="{772E7FE7-6877-4082-A69E-E332EB00FDCB}" sibTransId="{9E5568E7-AA25-4E33-B782-8E0CCE3CD8A8}"/>
    <dgm:cxn modelId="{22E95F8A-928E-44FC-A451-B57484B19CC9}" srcId="{FECC6121-E28F-4BE0-AE1C-747308641080}" destId="{6BDE6565-DA93-4269-804E-8B811DD234C9}" srcOrd="1" destOrd="0" parTransId="{9712CA9B-D579-4095-9300-A7981223BDAE}" sibTransId="{FCCFA110-CE50-49DC-BD30-6245ED4B7D1D}"/>
    <dgm:cxn modelId="{1668C88A-31BF-41D9-9656-FD8A39FB1F8B}" type="presOf" srcId="{A654B2B1-C9D2-4EB8-AF32-8F6E55E2795A}" destId="{F2611699-6C85-4FBF-AB47-DBD3C7959DCE}" srcOrd="0" destOrd="0" presId="urn:microsoft.com/office/officeart/2005/8/layout/list1"/>
    <dgm:cxn modelId="{E08A5A92-CE3D-4DF2-B7E9-77BBB94C8838}" type="presOf" srcId="{FB9E8E93-E505-4F61-B986-63526300BB1E}" destId="{BE7C517D-9004-4120-A6EC-1DBE8358D631}" srcOrd="0" destOrd="0" presId="urn:microsoft.com/office/officeart/2005/8/layout/list1"/>
    <dgm:cxn modelId="{A27048B4-F2AE-411E-BF82-923F64C4A9B5}" srcId="{5CAC6E89-8D61-41CE-B485-D446E81BC557}" destId="{FECC6121-E28F-4BE0-AE1C-747308641080}" srcOrd="1" destOrd="0" parTransId="{906B4977-F3E5-4B93-83EB-11FC5247CDFD}" sibTransId="{01681DA4-66CE-4A55-A9E2-6D4658A7195F}"/>
    <dgm:cxn modelId="{D4E422B6-CA8F-4780-9814-A494B8FCA92F}" type="presOf" srcId="{603570B6-A9B3-4503-9657-40D4D8DA2DBE}" destId="{1738A5E9-7294-453F-BC26-FB76949CBB6D}" srcOrd="0" destOrd="0" presId="urn:microsoft.com/office/officeart/2005/8/layout/list1"/>
    <dgm:cxn modelId="{7242CCCF-910E-4A07-9A9F-1A9ED421A2D8}" type="presOf" srcId="{58DE9527-F41D-4BFB-9F76-D77FE1577170}" destId="{1738A5E9-7294-453F-BC26-FB76949CBB6D}" srcOrd="0" destOrd="4" presId="urn:microsoft.com/office/officeart/2005/8/layout/list1"/>
    <dgm:cxn modelId="{B2D336D5-8EDB-4F0E-BDD9-3D0DC0F43B4D}" type="presOf" srcId="{762E3DA8-537E-4034-B770-ED9AE8FE14DB}" destId="{1738A5E9-7294-453F-BC26-FB76949CBB6D}" srcOrd="0" destOrd="6" presId="urn:microsoft.com/office/officeart/2005/8/layout/list1"/>
    <dgm:cxn modelId="{C35493D8-234C-422D-84FA-9CBD42D71B1C}" srcId="{FECC6121-E28F-4BE0-AE1C-747308641080}" destId="{762E3DA8-537E-4034-B770-ED9AE8FE14DB}" srcOrd="6" destOrd="0" parTransId="{777C9AF4-4AF3-420B-BDB0-9487EA084827}" sibTransId="{B31A1121-F0DA-4D4B-BB71-C5EBA101A1F7}"/>
    <dgm:cxn modelId="{968C0EDA-F400-4C36-8361-6138E798E5D4}" type="presOf" srcId="{6BDE6565-DA93-4269-804E-8B811DD234C9}" destId="{1738A5E9-7294-453F-BC26-FB76949CBB6D}" srcOrd="0" destOrd="1" presId="urn:microsoft.com/office/officeart/2005/8/layout/list1"/>
    <dgm:cxn modelId="{C87E2EDD-BD05-418C-AF3B-AD360AE82984}" type="presOf" srcId="{DC7A34C3-5303-4371-B5A2-DFA88E739090}" destId="{1738A5E9-7294-453F-BC26-FB76949CBB6D}" srcOrd="0" destOrd="2" presId="urn:microsoft.com/office/officeart/2005/8/layout/list1"/>
    <dgm:cxn modelId="{726B44F8-3FD1-4920-A8AE-2D9ED94627E1}" type="presOf" srcId="{191D4A74-DE33-4CA0-8E59-E7263D7EDBFF}" destId="{1738A5E9-7294-453F-BC26-FB76949CBB6D}" srcOrd="0" destOrd="5" presId="urn:microsoft.com/office/officeart/2005/8/layout/list1"/>
    <dgm:cxn modelId="{3D8184FC-8811-4F13-A9F7-E1350DD7C337}" type="presOf" srcId="{FECC6121-E28F-4BE0-AE1C-747308641080}" destId="{650EC44F-F836-4943-AC39-1C53DC90C16F}" srcOrd="0" destOrd="0" presId="urn:microsoft.com/office/officeart/2005/8/layout/list1"/>
    <dgm:cxn modelId="{1A2E3AFD-5AFE-49AA-BEFA-3FDB3B8D1CD2}" srcId="{FECC6121-E28F-4BE0-AE1C-747308641080}" destId="{DC7A34C3-5303-4371-B5A2-DFA88E739090}" srcOrd="2" destOrd="0" parTransId="{8E5D3D32-2F23-408F-BF9B-450344F2F7B2}" sibTransId="{1A06DA28-F134-4E2E-A2B6-F6BA104CEDF7}"/>
    <dgm:cxn modelId="{F4094326-8DEC-4BC3-B6CE-41A9AADC2E18}" type="presParOf" srcId="{B902A285-C333-498D-BE6D-38566E131EA4}" destId="{C3BC5FA1-3063-48EB-BF7F-D5688F371B16}" srcOrd="0" destOrd="0" presId="urn:microsoft.com/office/officeart/2005/8/layout/list1"/>
    <dgm:cxn modelId="{5B9EC6BC-CAE0-4905-A9F3-D1EF51623ABE}" type="presParOf" srcId="{C3BC5FA1-3063-48EB-BF7F-D5688F371B16}" destId="{BE7C517D-9004-4120-A6EC-1DBE8358D631}" srcOrd="0" destOrd="0" presId="urn:microsoft.com/office/officeart/2005/8/layout/list1"/>
    <dgm:cxn modelId="{8834ED35-F260-4137-B4EB-C07D65B773C8}" type="presParOf" srcId="{C3BC5FA1-3063-48EB-BF7F-D5688F371B16}" destId="{09DF4224-3D80-47D7-B2BA-0A0BBC33BA22}" srcOrd="1" destOrd="0" presId="urn:microsoft.com/office/officeart/2005/8/layout/list1"/>
    <dgm:cxn modelId="{425CFF60-0DCB-427F-8456-BB903EE95B47}" type="presParOf" srcId="{B902A285-C333-498D-BE6D-38566E131EA4}" destId="{7C729CE2-889A-4AD4-96E2-478372BD9263}" srcOrd="1" destOrd="0" presId="urn:microsoft.com/office/officeart/2005/8/layout/list1"/>
    <dgm:cxn modelId="{E2C75AC6-9B69-4035-BA50-AC836BF6E293}" type="presParOf" srcId="{B902A285-C333-498D-BE6D-38566E131EA4}" destId="{F2611699-6C85-4FBF-AB47-DBD3C7959DCE}" srcOrd="2" destOrd="0" presId="urn:microsoft.com/office/officeart/2005/8/layout/list1"/>
    <dgm:cxn modelId="{CD777938-ECC0-4BA8-8514-D34CA9CBB0F5}" type="presParOf" srcId="{B902A285-C333-498D-BE6D-38566E131EA4}" destId="{D0489F86-43E1-45D4-A0BE-724C960BF713}" srcOrd="3" destOrd="0" presId="urn:microsoft.com/office/officeart/2005/8/layout/list1"/>
    <dgm:cxn modelId="{D85329F5-A0ED-447E-B9FF-F09FF432CD6D}" type="presParOf" srcId="{B902A285-C333-498D-BE6D-38566E131EA4}" destId="{60F703C6-E9B5-4E10-87DC-F22DE0392E69}" srcOrd="4" destOrd="0" presId="urn:microsoft.com/office/officeart/2005/8/layout/list1"/>
    <dgm:cxn modelId="{103FE61F-F59B-4B81-8C78-AD21807B1B9D}" type="presParOf" srcId="{60F703C6-E9B5-4E10-87DC-F22DE0392E69}" destId="{650EC44F-F836-4943-AC39-1C53DC90C16F}" srcOrd="0" destOrd="0" presId="urn:microsoft.com/office/officeart/2005/8/layout/list1"/>
    <dgm:cxn modelId="{E51A4FB5-3ECA-4FCE-A08D-BFB6F06288E2}" type="presParOf" srcId="{60F703C6-E9B5-4E10-87DC-F22DE0392E69}" destId="{8EDC92CE-1AB4-4FAD-8EB9-3304E9FB1C42}" srcOrd="1" destOrd="0" presId="urn:microsoft.com/office/officeart/2005/8/layout/list1"/>
    <dgm:cxn modelId="{2ACE633E-357C-41BE-8F0B-D778BC180406}" type="presParOf" srcId="{B902A285-C333-498D-BE6D-38566E131EA4}" destId="{F6542E23-8949-4197-AC32-5529996D8DDA}" srcOrd="5" destOrd="0" presId="urn:microsoft.com/office/officeart/2005/8/layout/list1"/>
    <dgm:cxn modelId="{C473E3CD-4F89-4E4A-8A9F-0CE7A04ED38B}" type="presParOf" srcId="{B902A285-C333-498D-BE6D-38566E131EA4}" destId="{1738A5E9-7294-453F-BC26-FB76949CBB6D}" srcOrd="6" destOrd="0" presId="urn:microsoft.com/office/officeart/2005/8/layout/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E180F31-80C2-4B88-9E75-D41143A019B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7AA1E95-6582-4F37-B5FE-CDE53F8D2D1D}">
      <dgm:prSet phldrT="[Text]" custT="1"/>
      <dgm:spPr/>
      <dgm:t>
        <a:bodyPr/>
        <a:lstStyle/>
        <a:p>
          <a:r>
            <a:rPr lang="en-US" sz="2600" dirty="0"/>
            <a:t>New compile on Agent 4</a:t>
          </a:r>
        </a:p>
      </dgm:t>
    </dgm:pt>
    <dgm:pt modelId="{DCC93742-584B-4D0B-BEE2-50EF6DA646AA}" type="parTrans" cxnId="{471C4D88-C997-4790-BAEB-93061E0AF49D}">
      <dgm:prSet/>
      <dgm:spPr/>
      <dgm:t>
        <a:bodyPr/>
        <a:lstStyle/>
        <a:p>
          <a:endParaRPr lang="en-US"/>
        </a:p>
      </dgm:t>
    </dgm:pt>
    <dgm:pt modelId="{057CCCB5-B6D7-4F93-9780-2220EF550F89}" type="sibTrans" cxnId="{471C4D88-C997-4790-BAEB-93061E0AF49D}">
      <dgm:prSet/>
      <dgm:spPr/>
      <dgm:t>
        <a:bodyPr/>
        <a:lstStyle/>
        <a:p>
          <a:endParaRPr lang="en-US"/>
        </a:p>
      </dgm:t>
    </dgm:pt>
    <dgm:pt modelId="{F80353C7-1B76-4956-B6A7-3C3F0FCA8082}" type="pres">
      <dgm:prSet presAssocID="{EE180F31-80C2-4B88-9E75-D41143A019BA}" presName="linear" presStyleCnt="0">
        <dgm:presLayoutVars>
          <dgm:animLvl val="lvl"/>
          <dgm:resizeHandles val="exact"/>
        </dgm:presLayoutVars>
      </dgm:prSet>
      <dgm:spPr/>
    </dgm:pt>
    <dgm:pt modelId="{AF1DAC2B-1B5F-419C-B21B-B191A9A5DF1E}" type="pres">
      <dgm:prSet presAssocID="{67AA1E95-6582-4F37-B5FE-CDE53F8D2D1D}" presName="parentText" presStyleLbl="node1" presStyleIdx="0" presStyleCnt="1">
        <dgm:presLayoutVars>
          <dgm:chMax val="0"/>
          <dgm:bulletEnabled val="1"/>
        </dgm:presLayoutVars>
      </dgm:prSet>
      <dgm:spPr/>
    </dgm:pt>
  </dgm:ptLst>
  <dgm:cxnLst>
    <dgm:cxn modelId="{06C60E57-6CA9-4715-BCF3-16B1FA45ADC7}" type="presOf" srcId="{EE180F31-80C2-4B88-9E75-D41143A019BA}" destId="{F80353C7-1B76-4956-B6A7-3C3F0FCA8082}" srcOrd="0" destOrd="0" presId="urn:microsoft.com/office/officeart/2005/8/layout/vList2"/>
    <dgm:cxn modelId="{471C4D88-C997-4790-BAEB-93061E0AF49D}" srcId="{EE180F31-80C2-4B88-9E75-D41143A019BA}" destId="{67AA1E95-6582-4F37-B5FE-CDE53F8D2D1D}" srcOrd="0" destOrd="0" parTransId="{DCC93742-584B-4D0B-BEE2-50EF6DA646AA}" sibTransId="{057CCCB5-B6D7-4F93-9780-2220EF550F89}"/>
    <dgm:cxn modelId="{71580AE9-573B-45C2-AA0D-B744BC52369D}" type="presOf" srcId="{67AA1E95-6582-4F37-B5FE-CDE53F8D2D1D}" destId="{AF1DAC2B-1B5F-419C-B21B-B191A9A5DF1E}" srcOrd="0" destOrd="0" presId="urn:microsoft.com/office/officeart/2005/8/layout/vList2"/>
    <dgm:cxn modelId="{E87967AF-B5F2-4018-913D-B397044DF92E}" type="presParOf" srcId="{F80353C7-1B76-4956-B6A7-3C3F0FCA8082}" destId="{AF1DAC2B-1B5F-419C-B21B-B191A9A5DF1E}"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FF7EA9-1E01-4FFE-84FF-2108C119A703}">
      <dsp:nvSpPr>
        <dsp:cNvPr id="0" name=""/>
        <dsp:cNvSpPr/>
      </dsp:nvSpPr>
      <dsp:spPr>
        <a:xfrm>
          <a:off x="0" y="48741"/>
          <a:ext cx="10880725" cy="1216800"/>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An Overview of Intelligent Query Processing?</a:t>
          </a:r>
        </a:p>
      </dsp:txBody>
      <dsp:txXfrm>
        <a:off x="59399" y="108140"/>
        <a:ext cx="10761927" cy="1098002"/>
      </dsp:txXfrm>
    </dsp:sp>
    <dsp:sp modelId="{B3FF4F94-AFF8-45A0-8726-E9EEAE2647AC}">
      <dsp:nvSpPr>
        <dsp:cNvPr id="0" name=""/>
        <dsp:cNvSpPr/>
      </dsp:nvSpPr>
      <dsp:spPr>
        <a:xfrm>
          <a:off x="0" y="1452741"/>
          <a:ext cx="10880725" cy="1216800"/>
        </a:xfrm>
        <a:prstGeom prst="roundRect">
          <a:avLst/>
        </a:prstGeom>
        <a:solidFill>
          <a:schemeClr val="accent2">
            <a:hueOff val="-889166"/>
            <a:satOff val="18461"/>
            <a:lumOff val="196"/>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Enabling and Disabling Features</a:t>
          </a:r>
        </a:p>
      </dsp:txBody>
      <dsp:txXfrm>
        <a:off x="59399" y="1512140"/>
        <a:ext cx="10761927" cy="1098002"/>
      </dsp:txXfrm>
    </dsp:sp>
    <dsp:sp modelId="{6FA26E25-59B6-46AF-B682-722BA7826235}">
      <dsp:nvSpPr>
        <dsp:cNvPr id="0" name=""/>
        <dsp:cNvSpPr/>
      </dsp:nvSpPr>
      <dsp:spPr>
        <a:xfrm>
          <a:off x="0" y="2856741"/>
          <a:ext cx="10880725" cy="1216800"/>
        </a:xfrm>
        <a:prstGeom prst="roundRect">
          <a:avLst/>
        </a:prstGeom>
        <a:solidFill>
          <a:schemeClr val="accent2">
            <a:hueOff val="-1778331"/>
            <a:satOff val="36921"/>
            <a:lumOff val="392"/>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What is Parameter Sensitive Plan Optimization?</a:t>
          </a:r>
        </a:p>
      </dsp:txBody>
      <dsp:txXfrm>
        <a:off x="59399" y="2916140"/>
        <a:ext cx="10761927" cy="1098002"/>
      </dsp:txXfrm>
    </dsp:sp>
    <dsp:sp modelId="{06A6BAF2-CEC0-49FA-AEC5-EA456C95C9BB}">
      <dsp:nvSpPr>
        <dsp:cNvPr id="0" name=""/>
        <dsp:cNvSpPr/>
      </dsp:nvSpPr>
      <dsp:spPr>
        <a:xfrm>
          <a:off x="0" y="4260741"/>
          <a:ext cx="10880725" cy="1216800"/>
        </a:xfrm>
        <a:prstGeom prst="roundRect">
          <a:avLst/>
        </a:prstGeom>
        <a:solidFill>
          <a:schemeClr val="accent2">
            <a:hueOff val="-2667497"/>
            <a:satOff val="55382"/>
            <a:lumOff val="588"/>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Demonstration</a:t>
          </a:r>
        </a:p>
      </dsp:txBody>
      <dsp:txXfrm>
        <a:off x="59399" y="4320140"/>
        <a:ext cx="10761927" cy="109800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64C633-99A8-442F-AB7B-98CC9B35593A}">
      <dsp:nvSpPr>
        <dsp:cNvPr id="0" name=""/>
        <dsp:cNvSpPr/>
      </dsp:nvSpPr>
      <dsp:spPr>
        <a:xfrm>
          <a:off x="0" y="168758"/>
          <a:ext cx="11144474" cy="129870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Automatically enables </a:t>
          </a:r>
          <a:r>
            <a:rPr lang="en-US" sz="3000" u="none" kern="1200" dirty="0"/>
            <a:t>multiple, active </a:t>
          </a:r>
          <a:r>
            <a:rPr lang="en-US" sz="3000" kern="1200" dirty="0"/>
            <a:t>cached plans for a single parameterized statement</a:t>
          </a:r>
        </a:p>
      </dsp:txBody>
      <dsp:txXfrm>
        <a:off x="63397" y="232155"/>
        <a:ext cx="11017680" cy="1171906"/>
      </dsp:txXfrm>
    </dsp:sp>
    <dsp:sp modelId="{709EF244-9908-42D8-B846-1F5AE2BBD0F8}">
      <dsp:nvSpPr>
        <dsp:cNvPr id="0" name=""/>
        <dsp:cNvSpPr/>
      </dsp:nvSpPr>
      <dsp:spPr>
        <a:xfrm>
          <a:off x="0" y="1553858"/>
          <a:ext cx="11144474" cy="1298700"/>
        </a:xfrm>
        <a:prstGeom prst="roundRect">
          <a:avLst/>
        </a:prstGeom>
        <a:solidFill>
          <a:schemeClr val="accent4">
            <a:hueOff val="34942"/>
            <a:satOff val="-9343"/>
            <a:lumOff val="-607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Cached execution plans will accommodate different data sizes based on the customer-provided runtime parameter value(s)</a:t>
          </a:r>
        </a:p>
      </dsp:txBody>
      <dsp:txXfrm>
        <a:off x="63397" y="1617255"/>
        <a:ext cx="11017680" cy="1171906"/>
      </dsp:txXfrm>
    </dsp:sp>
    <dsp:sp modelId="{BD69AF70-FDD3-4F65-B044-186A952BCA3E}">
      <dsp:nvSpPr>
        <dsp:cNvPr id="0" name=""/>
        <dsp:cNvSpPr/>
      </dsp:nvSpPr>
      <dsp:spPr>
        <a:xfrm>
          <a:off x="0" y="2938959"/>
          <a:ext cx="11144474" cy="1298700"/>
        </a:xfrm>
        <a:prstGeom prst="roundRect">
          <a:avLst/>
        </a:prstGeom>
        <a:solidFill>
          <a:schemeClr val="accent4">
            <a:hueOff val="69884"/>
            <a:satOff val="-18686"/>
            <a:lumOff val="-121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Design considerations</a:t>
          </a:r>
        </a:p>
      </dsp:txBody>
      <dsp:txXfrm>
        <a:off x="63397" y="3002356"/>
        <a:ext cx="11017680" cy="1171906"/>
      </dsp:txXfrm>
    </dsp:sp>
    <dsp:sp modelId="{6607D736-F936-4CC9-A85F-F24CE4EC548D}">
      <dsp:nvSpPr>
        <dsp:cNvPr id="0" name=""/>
        <dsp:cNvSpPr/>
      </dsp:nvSpPr>
      <dsp:spPr>
        <a:xfrm>
          <a:off x="0" y="4237659"/>
          <a:ext cx="11144474" cy="13041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3837" tIns="38100" rIns="213360" bIns="3810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t>Too many plans generated could create cache bloat, so limit # of plans in cache</a:t>
          </a:r>
        </a:p>
        <a:p>
          <a:pPr marL="228600" lvl="1" indent="-228600" algn="l" defTabSz="1022350">
            <a:lnSpc>
              <a:spcPct val="90000"/>
            </a:lnSpc>
            <a:spcBef>
              <a:spcPct val="0"/>
            </a:spcBef>
            <a:spcAft>
              <a:spcPct val="20000"/>
            </a:spcAft>
            <a:buChar char="•"/>
          </a:pPr>
          <a:r>
            <a:rPr lang="en-US" sz="2300" kern="1200"/>
            <a:t>Overhead of PSP optimization must not outweigh downstream benefit</a:t>
          </a:r>
          <a:endParaRPr lang="en-US" sz="2300" kern="1200" dirty="0"/>
        </a:p>
        <a:p>
          <a:pPr marL="228600" lvl="1" indent="-228600" algn="l" defTabSz="1022350">
            <a:lnSpc>
              <a:spcPct val="90000"/>
            </a:lnSpc>
            <a:spcBef>
              <a:spcPct val="0"/>
            </a:spcBef>
            <a:spcAft>
              <a:spcPct val="20000"/>
            </a:spcAft>
            <a:buChar char="•"/>
          </a:pPr>
          <a:r>
            <a:rPr lang="en-US" sz="2300" kern="1200"/>
            <a:t>Compatible with Query Store plan forcing</a:t>
          </a:r>
          <a:endParaRPr lang="en-US" sz="2300" kern="1200" dirty="0"/>
        </a:p>
      </dsp:txBody>
      <dsp:txXfrm>
        <a:off x="0" y="4237659"/>
        <a:ext cx="11144474" cy="130410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CFF34A-7C23-4C2F-B398-F47637EF0A18}">
      <dsp:nvSpPr>
        <dsp:cNvPr id="0" name=""/>
        <dsp:cNvSpPr/>
      </dsp:nvSpPr>
      <dsp:spPr>
        <a:xfrm>
          <a:off x="0" y="511490"/>
          <a:ext cx="11404845" cy="129870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During initial compilation PSP optimization will evaluate the most “at risk” parameterized predicates (up to three out of all available)</a:t>
          </a:r>
          <a:endParaRPr lang="en-US" sz="3000" b="1" kern="1200" dirty="0"/>
        </a:p>
      </dsp:txBody>
      <dsp:txXfrm>
        <a:off x="63397" y="574887"/>
        <a:ext cx="11278051" cy="1171906"/>
      </dsp:txXfrm>
    </dsp:sp>
    <dsp:sp modelId="{9FF63987-23BA-4130-A511-B8D519664930}">
      <dsp:nvSpPr>
        <dsp:cNvPr id="0" name=""/>
        <dsp:cNvSpPr/>
      </dsp:nvSpPr>
      <dsp:spPr>
        <a:xfrm>
          <a:off x="0" y="1896590"/>
          <a:ext cx="11404845" cy="1298700"/>
        </a:xfrm>
        <a:prstGeom prst="roundRect">
          <a:avLst/>
        </a:prstGeom>
        <a:solidFill>
          <a:schemeClr val="accent4">
            <a:hueOff val="34942"/>
            <a:satOff val="-9343"/>
            <a:lumOff val="-607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First version is scoped to equality predicates referencing statistics-covered columns;  </a:t>
          </a:r>
          <a:r>
            <a:rPr lang="en-US" sz="3000" kern="1200" dirty="0">
              <a:latin typeface="Consolas" panose="020B0609020204030204" pitchFamily="49" charset="0"/>
            </a:rPr>
            <a:t>WHERE </a:t>
          </a:r>
          <a:r>
            <a:rPr lang="en-US" sz="3000" kern="1200" dirty="0" err="1">
              <a:latin typeface="Consolas" panose="020B0609020204030204" pitchFamily="49" charset="0"/>
            </a:rPr>
            <a:t>AgentId</a:t>
          </a:r>
          <a:r>
            <a:rPr lang="en-US" sz="3000" kern="1200" dirty="0">
              <a:latin typeface="Consolas" panose="020B0609020204030204" pitchFamily="49" charset="0"/>
            </a:rPr>
            <a:t> = @AgentId</a:t>
          </a:r>
        </a:p>
      </dsp:txBody>
      <dsp:txXfrm>
        <a:off x="63397" y="1959987"/>
        <a:ext cx="11278051" cy="1171906"/>
      </dsp:txXfrm>
    </dsp:sp>
    <dsp:sp modelId="{2C8B49A1-8B54-4C9F-B82C-77A5F6BE6562}">
      <dsp:nvSpPr>
        <dsp:cNvPr id="0" name=""/>
        <dsp:cNvSpPr/>
      </dsp:nvSpPr>
      <dsp:spPr>
        <a:xfrm>
          <a:off x="0" y="3281690"/>
          <a:ext cx="11404845" cy="1298700"/>
        </a:xfrm>
        <a:prstGeom prst="roundRect">
          <a:avLst/>
        </a:prstGeom>
        <a:solidFill>
          <a:schemeClr val="accent4">
            <a:hueOff val="69884"/>
            <a:satOff val="-18686"/>
            <a:lumOff val="-121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Uses the statistics histogram to identify non-uniform distributions</a:t>
          </a:r>
        </a:p>
      </dsp:txBody>
      <dsp:txXfrm>
        <a:off x="63397" y="3345087"/>
        <a:ext cx="11278051" cy="117190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6797371" y="1720781"/>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lligent Query Processing</a:t>
          </a:r>
        </a:p>
      </dsp:txBody>
      <dsp:txXfrm>
        <a:off x="6817775" y="1741185"/>
        <a:ext cx="1004180" cy="655850"/>
      </dsp:txXfrm>
    </dsp:sp>
    <dsp:sp modelId="{2A969FB1-A0CA-4BCB-9811-B1C2A2D37CF2}">
      <dsp:nvSpPr>
        <dsp:cNvPr id="0" name=""/>
        <dsp:cNvSpPr/>
      </dsp:nvSpPr>
      <dsp:spPr>
        <a:xfrm>
          <a:off x="3244411" y="2417439"/>
          <a:ext cx="4075453" cy="278663"/>
        </a:xfrm>
        <a:custGeom>
          <a:avLst/>
          <a:gdLst/>
          <a:ahLst/>
          <a:cxnLst/>
          <a:rect l="0" t="0" r="0" b="0"/>
          <a:pathLst>
            <a:path>
              <a:moveTo>
                <a:pt x="4075453" y="0"/>
              </a:moveTo>
              <a:lnTo>
                <a:pt x="4075453"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AC8CF5E-1D5D-4BBE-AAC6-1A65B9CD9224}">
      <dsp:nvSpPr>
        <dsp:cNvPr id="0" name=""/>
        <dsp:cNvSpPr/>
      </dsp:nvSpPr>
      <dsp:spPr>
        <a:xfrm>
          <a:off x="2721917" y="2696103"/>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Query Processing</a:t>
          </a:r>
        </a:p>
      </dsp:txBody>
      <dsp:txXfrm>
        <a:off x="2742321" y="2716507"/>
        <a:ext cx="1004180" cy="655850"/>
      </dsp:txXfrm>
    </dsp:sp>
    <dsp:sp modelId="{9B0BC5A7-6A70-41C3-871D-416E6CE7FB15}">
      <dsp:nvSpPr>
        <dsp:cNvPr id="0" name=""/>
        <dsp:cNvSpPr/>
      </dsp:nvSpPr>
      <dsp:spPr>
        <a:xfrm>
          <a:off x="527442" y="3392762"/>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4948" y="3671425"/>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Joins</a:t>
          </a:r>
        </a:p>
      </dsp:txBody>
      <dsp:txXfrm>
        <a:off x="25352" y="3691829"/>
        <a:ext cx="1004180" cy="655850"/>
      </dsp:txXfrm>
    </dsp:sp>
    <dsp:sp modelId="{52433208-80E6-4924-B192-66BA710CE757}">
      <dsp:nvSpPr>
        <dsp:cNvPr id="0" name=""/>
        <dsp:cNvSpPr/>
      </dsp:nvSpPr>
      <dsp:spPr>
        <a:xfrm>
          <a:off x="1885927" y="3392762"/>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1363433" y="3671425"/>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rleaved Execution</a:t>
          </a:r>
        </a:p>
      </dsp:txBody>
      <dsp:txXfrm>
        <a:off x="1383837" y="3691829"/>
        <a:ext cx="1004180" cy="655850"/>
      </dsp:txXfrm>
    </dsp:sp>
    <dsp:sp modelId="{BF248486-F648-4871-903F-93B482640036}">
      <dsp:nvSpPr>
        <dsp:cNvPr id="0" name=""/>
        <dsp:cNvSpPr/>
      </dsp:nvSpPr>
      <dsp:spPr>
        <a:xfrm>
          <a:off x="3198691" y="3392762"/>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1027D77-40B4-492F-B9BC-73968B2B92A0}">
      <dsp:nvSpPr>
        <dsp:cNvPr id="0" name=""/>
        <dsp:cNvSpPr/>
      </dsp:nvSpPr>
      <dsp:spPr>
        <a:xfrm>
          <a:off x="2721917" y="3671425"/>
          <a:ext cx="1044988" cy="696658"/>
        </a:xfrm>
        <a:prstGeom prst="roundRect">
          <a:avLst>
            <a:gd name="adj" fmla="val 10000"/>
          </a:avLst>
        </a:prstGeom>
        <a:solidFill>
          <a:schemeClr val="accent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emory Grant Feedback</a:t>
          </a:r>
        </a:p>
      </dsp:txBody>
      <dsp:txXfrm>
        <a:off x="2742321" y="3691829"/>
        <a:ext cx="1004180" cy="655850"/>
      </dsp:txXfrm>
    </dsp:sp>
    <dsp:sp modelId="{5690923D-9059-4138-8ACF-90D405019F80}">
      <dsp:nvSpPr>
        <dsp:cNvPr id="0" name=""/>
        <dsp:cNvSpPr/>
      </dsp:nvSpPr>
      <dsp:spPr>
        <a:xfrm>
          <a:off x="1885927" y="4368084"/>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1363433" y="4646748"/>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a:t>
          </a:r>
        </a:p>
      </dsp:txBody>
      <dsp:txXfrm>
        <a:off x="1383837" y="4667152"/>
        <a:ext cx="1004180" cy="655850"/>
      </dsp:txXfrm>
    </dsp:sp>
    <dsp:sp modelId="{810926B5-7D25-4DDF-8B56-5D578BE910C7}">
      <dsp:nvSpPr>
        <dsp:cNvPr id="0" name=""/>
        <dsp:cNvSpPr/>
      </dsp:nvSpPr>
      <dsp:spPr>
        <a:xfrm>
          <a:off x="3198691" y="4368084"/>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27787B6-C2E1-41AC-8A63-E0D44F6095FA}">
      <dsp:nvSpPr>
        <dsp:cNvPr id="0" name=""/>
        <dsp:cNvSpPr/>
      </dsp:nvSpPr>
      <dsp:spPr>
        <a:xfrm>
          <a:off x="2721917" y="464674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Row Mode</a:t>
          </a:r>
        </a:p>
      </dsp:txBody>
      <dsp:txXfrm>
        <a:off x="2742321" y="4667152"/>
        <a:ext cx="1004180" cy="655850"/>
      </dsp:txXfrm>
    </dsp:sp>
    <dsp:sp modelId="{5CC0C396-8377-475C-A00D-7F8341A1F477}">
      <dsp:nvSpPr>
        <dsp:cNvPr id="0" name=""/>
        <dsp:cNvSpPr/>
      </dsp:nvSpPr>
      <dsp:spPr>
        <a:xfrm>
          <a:off x="3244411" y="4368084"/>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2B5BF8B-57A2-4E22-AA4A-CDE9EE34C77B}">
      <dsp:nvSpPr>
        <dsp:cNvPr id="0" name=""/>
        <dsp:cNvSpPr/>
      </dsp:nvSpPr>
      <dsp:spPr>
        <a:xfrm>
          <a:off x="4080402" y="4646748"/>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eedback Persistence</a:t>
          </a:r>
        </a:p>
      </dsp:txBody>
      <dsp:txXfrm>
        <a:off x="4100806" y="4667152"/>
        <a:ext cx="1004180" cy="655850"/>
      </dsp:txXfrm>
    </dsp:sp>
    <dsp:sp modelId="{D0464A9B-83F7-4A2D-94B3-57ED5F3C091B}">
      <dsp:nvSpPr>
        <dsp:cNvPr id="0" name=""/>
        <dsp:cNvSpPr/>
      </dsp:nvSpPr>
      <dsp:spPr>
        <a:xfrm>
          <a:off x="3244411" y="3392762"/>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F97BDF46-D920-42CC-AE1D-3430A1C11D9E}">
      <dsp:nvSpPr>
        <dsp:cNvPr id="0" name=""/>
        <dsp:cNvSpPr/>
      </dsp:nvSpPr>
      <dsp:spPr>
        <a:xfrm>
          <a:off x="4080402" y="3671425"/>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E Feedback</a:t>
          </a:r>
        </a:p>
      </dsp:txBody>
      <dsp:txXfrm>
        <a:off x="4100806" y="3691829"/>
        <a:ext cx="1004180" cy="655850"/>
      </dsp:txXfrm>
    </dsp:sp>
    <dsp:sp modelId="{BC3E3219-39C3-4268-83EE-67E130107410}">
      <dsp:nvSpPr>
        <dsp:cNvPr id="0" name=""/>
        <dsp:cNvSpPr/>
      </dsp:nvSpPr>
      <dsp:spPr>
        <a:xfrm>
          <a:off x="3244411" y="3392762"/>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1FCB1E33-4F48-4A78-8612-EB7710CE8354}">
      <dsp:nvSpPr>
        <dsp:cNvPr id="0" name=""/>
        <dsp:cNvSpPr/>
      </dsp:nvSpPr>
      <dsp:spPr>
        <a:xfrm>
          <a:off x="5438886" y="3671425"/>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OP Feedback</a:t>
          </a:r>
        </a:p>
      </dsp:txBody>
      <dsp:txXfrm>
        <a:off x="5459290" y="3691829"/>
        <a:ext cx="1004180" cy="655850"/>
      </dsp:txXfrm>
    </dsp:sp>
    <dsp:sp modelId="{54FE398B-EB4B-4376-8CAD-D5884C340DB3}">
      <dsp:nvSpPr>
        <dsp:cNvPr id="0" name=""/>
        <dsp:cNvSpPr/>
      </dsp:nvSpPr>
      <dsp:spPr>
        <a:xfrm>
          <a:off x="4602896" y="2417439"/>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4080402" y="269610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Table Variable Deferred Compilation</a:t>
          </a:r>
        </a:p>
      </dsp:txBody>
      <dsp:txXfrm>
        <a:off x="4100806" y="2716507"/>
        <a:ext cx="1004180" cy="655850"/>
      </dsp:txXfrm>
    </dsp:sp>
    <dsp:sp modelId="{54FC7E62-6BC8-4117-AE83-F7D461A58C56}">
      <dsp:nvSpPr>
        <dsp:cNvPr id="0" name=""/>
        <dsp:cNvSpPr/>
      </dsp:nvSpPr>
      <dsp:spPr>
        <a:xfrm>
          <a:off x="5961381" y="2417439"/>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5438886" y="269610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 On Rowstore Indexes</a:t>
          </a:r>
        </a:p>
      </dsp:txBody>
      <dsp:txXfrm>
        <a:off x="5459290" y="2716507"/>
        <a:ext cx="1004180" cy="655850"/>
      </dsp:txXfrm>
    </dsp:sp>
    <dsp:sp modelId="{8348335F-5BEF-45E6-9491-BE36F00A5827}">
      <dsp:nvSpPr>
        <dsp:cNvPr id="0" name=""/>
        <dsp:cNvSpPr/>
      </dsp:nvSpPr>
      <dsp:spPr>
        <a:xfrm>
          <a:off x="7274145" y="2417439"/>
          <a:ext cx="91440" cy="278663"/>
        </a:xfrm>
        <a:custGeom>
          <a:avLst/>
          <a:gdLst/>
          <a:ahLst/>
          <a:cxnLst/>
          <a:rect l="0" t="0" r="0" b="0"/>
          <a:pathLst>
            <a:path>
              <a:moveTo>
                <a:pt x="45720" y="0"/>
              </a:moveTo>
              <a:lnTo>
                <a:pt x="4572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797371" y="269610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calar UDF Inlining</a:t>
          </a:r>
        </a:p>
      </dsp:txBody>
      <dsp:txXfrm>
        <a:off x="6817775" y="2716507"/>
        <a:ext cx="1004180" cy="655850"/>
      </dsp:txXfrm>
    </dsp:sp>
    <dsp:sp modelId="{6BEB96AB-5069-4522-8BFE-22AE1E1907A1}">
      <dsp:nvSpPr>
        <dsp:cNvPr id="0" name=""/>
        <dsp:cNvSpPr/>
      </dsp:nvSpPr>
      <dsp:spPr>
        <a:xfrm>
          <a:off x="7319865" y="2417439"/>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8155856" y="269610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Query Processing</a:t>
          </a:r>
        </a:p>
      </dsp:txBody>
      <dsp:txXfrm>
        <a:off x="8176260" y="2716507"/>
        <a:ext cx="1004180" cy="655850"/>
      </dsp:txXfrm>
    </dsp:sp>
    <dsp:sp modelId="{29F63BC1-C5FC-44AA-8F97-ECEF56FF0ECF}">
      <dsp:nvSpPr>
        <dsp:cNvPr id="0" name=""/>
        <dsp:cNvSpPr/>
      </dsp:nvSpPr>
      <dsp:spPr>
        <a:xfrm>
          <a:off x="7999107" y="3392762"/>
          <a:ext cx="679242" cy="278663"/>
        </a:xfrm>
        <a:custGeom>
          <a:avLst/>
          <a:gdLst/>
          <a:ahLst/>
          <a:cxnLst/>
          <a:rect l="0" t="0" r="0" b="0"/>
          <a:pathLst>
            <a:path>
              <a:moveTo>
                <a:pt x="679242" y="0"/>
              </a:moveTo>
              <a:lnTo>
                <a:pt x="679242"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7476613" y="3671425"/>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Count Distinct</a:t>
          </a:r>
        </a:p>
      </dsp:txBody>
      <dsp:txXfrm>
        <a:off x="7497017" y="3691829"/>
        <a:ext cx="1004180" cy="655850"/>
      </dsp:txXfrm>
    </dsp:sp>
    <dsp:sp modelId="{A1CDEA6C-5A4D-425A-B7B4-C84037695A33}">
      <dsp:nvSpPr>
        <dsp:cNvPr id="0" name=""/>
        <dsp:cNvSpPr/>
      </dsp:nvSpPr>
      <dsp:spPr>
        <a:xfrm>
          <a:off x="8678350" y="3392762"/>
          <a:ext cx="679242" cy="278663"/>
        </a:xfrm>
        <a:custGeom>
          <a:avLst/>
          <a:gdLst/>
          <a:ahLst/>
          <a:cxnLst/>
          <a:rect l="0" t="0" r="0" b="0"/>
          <a:pathLst>
            <a:path>
              <a:moveTo>
                <a:pt x="0" y="0"/>
              </a:moveTo>
              <a:lnTo>
                <a:pt x="0" y="139331"/>
              </a:lnTo>
              <a:lnTo>
                <a:pt x="679242" y="139331"/>
              </a:lnTo>
              <a:lnTo>
                <a:pt x="679242"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12D3DA4-5AF8-45B2-9FCC-D6582DACED2F}">
      <dsp:nvSpPr>
        <dsp:cNvPr id="0" name=""/>
        <dsp:cNvSpPr/>
      </dsp:nvSpPr>
      <dsp:spPr>
        <a:xfrm>
          <a:off x="8835098" y="3671425"/>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Percentile</a:t>
          </a:r>
        </a:p>
      </dsp:txBody>
      <dsp:txXfrm>
        <a:off x="8855502" y="3691829"/>
        <a:ext cx="1004180" cy="655850"/>
      </dsp:txXfrm>
    </dsp:sp>
    <dsp:sp modelId="{F82B889D-DE37-40F0-8FFB-E4677B4D6302}">
      <dsp:nvSpPr>
        <dsp:cNvPr id="0" name=""/>
        <dsp:cNvSpPr/>
      </dsp:nvSpPr>
      <dsp:spPr>
        <a:xfrm>
          <a:off x="7319865" y="2417439"/>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A3135B42-D037-4853-9860-012953D934F7}">
      <dsp:nvSpPr>
        <dsp:cNvPr id="0" name=""/>
        <dsp:cNvSpPr/>
      </dsp:nvSpPr>
      <dsp:spPr>
        <a:xfrm>
          <a:off x="9514340" y="2696103"/>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Optimized Plan Forcing</a:t>
          </a:r>
        </a:p>
      </dsp:txBody>
      <dsp:txXfrm>
        <a:off x="9534744" y="2716507"/>
        <a:ext cx="1004180" cy="655850"/>
      </dsp:txXfrm>
    </dsp:sp>
    <dsp:sp modelId="{09C8B667-CAD7-4DC0-985B-9B8F058B52AE}">
      <dsp:nvSpPr>
        <dsp:cNvPr id="0" name=""/>
        <dsp:cNvSpPr/>
      </dsp:nvSpPr>
      <dsp:spPr>
        <a:xfrm>
          <a:off x="7319865" y="2417439"/>
          <a:ext cx="4075453" cy="278663"/>
        </a:xfrm>
        <a:custGeom>
          <a:avLst/>
          <a:gdLst/>
          <a:ahLst/>
          <a:cxnLst/>
          <a:rect l="0" t="0" r="0" b="0"/>
          <a:pathLst>
            <a:path>
              <a:moveTo>
                <a:pt x="0" y="0"/>
              </a:moveTo>
              <a:lnTo>
                <a:pt x="0" y="139331"/>
              </a:lnTo>
              <a:lnTo>
                <a:pt x="4075453" y="139331"/>
              </a:lnTo>
              <a:lnTo>
                <a:pt x="4075453"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91731D73-B433-4ECC-937E-D3F66E307A04}">
      <dsp:nvSpPr>
        <dsp:cNvPr id="0" name=""/>
        <dsp:cNvSpPr/>
      </dsp:nvSpPr>
      <dsp:spPr>
        <a:xfrm>
          <a:off x="10872825" y="2696103"/>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arameter Sensitive Plan Optimization</a:t>
          </a:r>
        </a:p>
      </dsp:txBody>
      <dsp:txXfrm>
        <a:off x="10893229" y="2716507"/>
        <a:ext cx="1004180" cy="65585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CFF34A-7C23-4C2F-B398-F47637EF0A18}">
      <dsp:nvSpPr>
        <dsp:cNvPr id="0" name=""/>
        <dsp:cNvSpPr/>
      </dsp:nvSpPr>
      <dsp:spPr>
        <a:xfrm>
          <a:off x="0" y="153121"/>
          <a:ext cx="11404845" cy="900899"/>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dirty="0" err="1"/>
            <a:t>Parameter_sensitive_plan_optimization_skipped_reason</a:t>
          </a:r>
          <a:endParaRPr lang="en-US" sz="3500" b="1" kern="1200" dirty="0"/>
        </a:p>
      </dsp:txBody>
      <dsp:txXfrm>
        <a:off x="43978" y="197099"/>
        <a:ext cx="11316889" cy="812943"/>
      </dsp:txXfrm>
    </dsp:sp>
    <dsp:sp modelId="{80B6136C-4075-4D91-8D5B-EEA230089223}">
      <dsp:nvSpPr>
        <dsp:cNvPr id="0" name=""/>
        <dsp:cNvSpPr/>
      </dsp:nvSpPr>
      <dsp:spPr>
        <a:xfrm>
          <a:off x="0" y="1054021"/>
          <a:ext cx="11404845" cy="579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2104" tIns="44450" rIns="248920" bIns="44450" numCol="1" spcCol="1270" anchor="t" anchorCtr="0">
          <a:noAutofit/>
        </a:bodyPr>
        <a:lstStyle/>
        <a:p>
          <a:pPr marL="228600" lvl="1" indent="-228600" algn="l" defTabSz="1200150">
            <a:lnSpc>
              <a:spcPct val="90000"/>
            </a:lnSpc>
            <a:spcBef>
              <a:spcPct val="0"/>
            </a:spcBef>
            <a:spcAft>
              <a:spcPct val="20000"/>
            </a:spcAft>
            <a:buChar char="•"/>
          </a:pPr>
          <a:r>
            <a:rPr lang="en-US" sz="2700" kern="1200" dirty="0"/>
            <a:t>Occurs when the parameter sensitive plan feature is skipped..</a:t>
          </a:r>
          <a:endParaRPr lang="en-US" sz="2700" b="1" kern="1200" dirty="0"/>
        </a:p>
      </dsp:txBody>
      <dsp:txXfrm>
        <a:off x="0" y="1054021"/>
        <a:ext cx="11404845" cy="579600"/>
      </dsp:txXfrm>
    </dsp:sp>
    <dsp:sp modelId="{387077CA-E34D-4CF6-800C-BB87D79B075E}">
      <dsp:nvSpPr>
        <dsp:cNvPr id="0" name=""/>
        <dsp:cNvSpPr/>
      </dsp:nvSpPr>
      <dsp:spPr>
        <a:xfrm>
          <a:off x="0" y="1633621"/>
          <a:ext cx="11404845" cy="900899"/>
        </a:xfrm>
        <a:prstGeom prst="roundRect">
          <a:avLst/>
        </a:prstGeom>
        <a:solidFill>
          <a:schemeClr val="accent4">
            <a:hueOff val="34942"/>
            <a:satOff val="-9343"/>
            <a:lumOff val="-607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dirty="0" err="1"/>
            <a:t>Parameter_sensitive_plan_optimization</a:t>
          </a:r>
          <a:r>
            <a:rPr lang="en-US" sz="3500" kern="1200" dirty="0"/>
            <a:t>:</a:t>
          </a:r>
        </a:p>
      </dsp:txBody>
      <dsp:txXfrm>
        <a:off x="43978" y="1677599"/>
        <a:ext cx="11316889" cy="812943"/>
      </dsp:txXfrm>
    </dsp:sp>
    <dsp:sp modelId="{E3F7E14E-201A-4375-BB04-FA8C7D3D3F19}">
      <dsp:nvSpPr>
        <dsp:cNvPr id="0" name=""/>
        <dsp:cNvSpPr/>
      </dsp:nvSpPr>
      <dsp:spPr>
        <a:xfrm>
          <a:off x="0" y="2534521"/>
          <a:ext cx="11404845" cy="9237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2104" tIns="44450" rIns="248920" bIns="44450" numCol="1" spcCol="1270" anchor="t" anchorCtr="0">
          <a:noAutofit/>
        </a:bodyPr>
        <a:lstStyle/>
        <a:p>
          <a:pPr marL="228600" lvl="1" indent="-228600" algn="l" defTabSz="1200150">
            <a:lnSpc>
              <a:spcPct val="90000"/>
            </a:lnSpc>
            <a:spcBef>
              <a:spcPct val="0"/>
            </a:spcBef>
            <a:spcAft>
              <a:spcPct val="20000"/>
            </a:spcAft>
            <a:buChar char="•"/>
          </a:pPr>
          <a:r>
            <a:rPr lang="en-US" sz="2700" kern="1200"/>
            <a:t>Occurs </a:t>
          </a:r>
          <a:r>
            <a:rPr lang="en-US" sz="2700" kern="1200" dirty="0"/>
            <a:t>when a query uses Parameter Sensitive Plan (PSP) Optimization feature. Debug channel only.</a:t>
          </a:r>
        </a:p>
      </dsp:txBody>
      <dsp:txXfrm>
        <a:off x="0" y="2534521"/>
        <a:ext cx="11404845" cy="923737"/>
      </dsp:txXfrm>
    </dsp:sp>
    <dsp:sp modelId="{F3209C2C-D313-4222-AF9C-05DC0314ED39}">
      <dsp:nvSpPr>
        <dsp:cNvPr id="0" name=""/>
        <dsp:cNvSpPr/>
      </dsp:nvSpPr>
      <dsp:spPr>
        <a:xfrm>
          <a:off x="0" y="3458259"/>
          <a:ext cx="11404845" cy="900899"/>
        </a:xfrm>
        <a:prstGeom prst="roundRect">
          <a:avLst/>
        </a:prstGeom>
        <a:solidFill>
          <a:schemeClr val="accent4">
            <a:hueOff val="69884"/>
            <a:satOff val="-18686"/>
            <a:lumOff val="-121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dirty="0" err="1"/>
            <a:t>Parameter_sensitive_plan_testing</a:t>
          </a:r>
          <a:r>
            <a:rPr lang="en-US" sz="3500" kern="1200" dirty="0"/>
            <a:t>:</a:t>
          </a:r>
        </a:p>
      </dsp:txBody>
      <dsp:txXfrm>
        <a:off x="43978" y="3502237"/>
        <a:ext cx="11316889" cy="812943"/>
      </dsp:txXfrm>
    </dsp:sp>
    <dsp:sp modelId="{56BD2FA2-3023-48AF-BCA6-E9CD74AA0F7A}">
      <dsp:nvSpPr>
        <dsp:cNvPr id="0" name=""/>
        <dsp:cNvSpPr/>
      </dsp:nvSpPr>
      <dsp:spPr>
        <a:xfrm>
          <a:off x="0" y="4359159"/>
          <a:ext cx="11404845" cy="579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2104" tIns="44450" rIns="248920" bIns="44450" numCol="1" spcCol="1270" anchor="t" anchorCtr="0">
          <a:noAutofit/>
        </a:bodyPr>
        <a:lstStyle/>
        <a:p>
          <a:pPr marL="228600" lvl="1" indent="-228600" algn="l" defTabSz="1200150">
            <a:lnSpc>
              <a:spcPct val="90000"/>
            </a:lnSpc>
            <a:spcBef>
              <a:spcPct val="0"/>
            </a:spcBef>
            <a:spcAft>
              <a:spcPct val="20000"/>
            </a:spcAft>
            <a:buChar char="•"/>
          </a:pPr>
          <a:r>
            <a:rPr lang="en-US" sz="2700" kern="1200"/>
            <a:t>Occurs </a:t>
          </a:r>
          <a:r>
            <a:rPr lang="en-US" sz="2700" kern="1200" dirty="0"/>
            <a:t>when parameter-sensitive plan is tested. Debug channel only.</a:t>
          </a:r>
        </a:p>
      </dsp:txBody>
      <dsp:txXfrm>
        <a:off x="0" y="4359159"/>
        <a:ext cx="11404845" cy="579600"/>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6797371" y="1744146"/>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lligent Query Processing</a:t>
          </a:r>
        </a:p>
      </dsp:txBody>
      <dsp:txXfrm>
        <a:off x="6817775" y="1764550"/>
        <a:ext cx="1004180" cy="655850"/>
      </dsp:txXfrm>
    </dsp:sp>
    <dsp:sp modelId="{2A969FB1-A0CA-4BCB-9811-B1C2A2D37CF2}">
      <dsp:nvSpPr>
        <dsp:cNvPr id="0" name=""/>
        <dsp:cNvSpPr/>
      </dsp:nvSpPr>
      <dsp:spPr>
        <a:xfrm>
          <a:off x="3244411" y="2440805"/>
          <a:ext cx="4075453" cy="278663"/>
        </a:xfrm>
        <a:custGeom>
          <a:avLst/>
          <a:gdLst/>
          <a:ahLst/>
          <a:cxnLst/>
          <a:rect l="0" t="0" r="0" b="0"/>
          <a:pathLst>
            <a:path>
              <a:moveTo>
                <a:pt x="4075453" y="0"/>
              </a:moveTo>
              <a:lnTo>
                <a:pt x="4075453"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AC8CF5E-1D5D-4BBE-AAC6-1A65B9CD9224}">
      <dsp:nvSpPr>
        <dsp:cNvPr id="0" name=""/>
        <dsp:cNvSpPr/>
      </dsp:nvSpPr>
      <dsp:spPr>
        <a:xfrm>
          <a:off x="2721917" y="2719468"/>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Query Processing</a:t>
          </a:r>
        </a:p>
      </dsp:txBody>
      <dsp:txXfrm>
        <a:off x="2742321" y="2739872"/>
        <a:ext cx="1004180" cy="655850"/>
      </dsp:txXfrm>
    </dsp:sp>
    <dsp:sp modelId="{9B0BC5A7-6A70-41C3-871D-416E6CE7FB15}">
      <dsp:nvSpPr>
        <dsp:cNvPr id="0" name=""/>
        <dsp:cNvSpPr/>
      </dsp:nvSpPr>
      <dsp:spPr>
        <a:xfrm>
          <a:off x="527442" y="3416127"/>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4948" y="3694791"/>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Joins</a:t>
          </a:r>
        </a:p>
      </dsp:txBody>
      <dsp:txXfrm>
        <a:off x="25352" y="3715195"/>
        <a:ext cx="1004180" cy="655850"/>
      </dsp:txXfrm>
    </dsp:sp>
    <dsp:sp modelId="{52433208-80E6-4924-B192-66BA710CE757}">
      <dsp:nvSpPr>
        <dsp:cNvPr id="0" name=""/>
        <dsp:cNvSpPr/>
      </dsp:nvSpPr>
      <dsp:spPr>
        <a:xfrm>
          <a:off x="1885927" y="3416127"/>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1363433" y="3694791"/>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rleaved Execution</a:t>
          </a:r>
        </a:p>
      </dsp:txBody>
      <dsp:txXfrm>
        <a:off x="1383837" y="3715195"/>
        <a:ext cx="1004180" cy="655850"/>
      </dsp:txXfrm>
    </dsp:sp>
    <dsp:sp modelId="{BF248486-F648-4871-903F-93B482640036}">
      <dsp:nvSpPr>
        <dsp:cNvPr id="0" name=""/>
        <dsp:cNvSpPr/>
      </dsp:nvSpPr>
      <dsp:spPr>
        <a:xfrm>
          <a:off x="3198691" y="3416127"/>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1027D77-40B4-492F-B9BC-73968B2B92A0}">
      <dsp:nvSpPr>
        <dsp:cNvPr id="0" name=""/>
        <dsp:cNvSpPr/>
      </dsp:nvSpPr>
      <dsp:spPr>
        <a:xfrm>
          <a:off x="2721917" y="3694791"/>
          <a:ext cx="1044988" cy="696658"/>
        </a:xfrm>
        <a:prstGeom prst="roundRect">
          <a:avLst>
            <a:gd name="adj" fmla="val 10000"/>
          </a:avLst>
        </a:prstGeom>
        <a:solidFill>
          <a:schemeClr val="accent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emory Grant Feedback</a:t>
          </a:r>
        </a:p>
      </dsp:txBody>
      <dsp:txXfrm>
        <a:off x="2742321" y="3715195"/>
        <a:ext cx="1004180" cy="655850"/>
      </dsp:txXfrm>
    </dsp:sp>
    <dsp:sp modelId="{5690923D-9059-4138-8ACF-90D405019F80}">
      <dsp:nvSpPr>
        <dsp:cNvPr id="0" name=""/>
        <dsp:cNvSpPr/>
      </dsp:nvSpPr>
      <dsp:spPr>
        <a:xfrm>
          <a:off x="1885927" y="4391450"/>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1363433" y="4670113"/>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a:t>
          </a:r>
        </a:p>
      </dsp:txBody>
      <dsp:txXfrm>
        <a:off x="1383837" y="4690517"/>
        <a:ext cx="1004180" cy="655850"/>
      </dsp:txXfrm>
    </dsp:sp>
    <dsp:sp modelId="{810926B5-7D25-4DDF-8B56-5D578BE910C7}">
      <dsp:nvSpPr>
        <dsp:cNvPr id="0" name=""/>
        <dsp:cNvSpPr/>
      </dsp:nvSpPr>
      <dsp:spPr>
        <a:xfrm>
          <a:off x="3198691" y="4391450"/>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27787B6-C2E1-41AC-8A63-E0D44F6095FA}">
      <dsp:nvSpPr>
        <dsp:cNvPr id="0" name=""/>
        <dsp:cNvSpPr/>
      </dsp:nvSpPr>
      <dsp:spPr>
        <a:xfrm>
          <a:off x="2721917" y="467011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Row Mode</a:t>
          </a:r>
        </a:p>
      </dsp:txBody>
      <dsp:txXfrm>
        <a:off x="2742321" y="4690517"/>
        <a:ext cx="1004180" cy="655850"/>
      </dsp:txXfrm>
    </dsp:sp>
    <dsp:sp modelId="{5CC0C396-8377-475C-A00D-7F8341A1F477}">
      <dsp:nvSpPr>
        <dsp:cNvPr id="0" name=""/>
        <dsp:cNvSpPr/>
      </dsp:nvSpPr>
      <dsp:spPr>
        <a:xfrm>
          <a:off x="3244411" y="4391450"/>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2B5BF8B-57A2-4E22-AA4A-CDE9EE34C77B}">
      <dsp:nvSpPr>
        <dsp:cNvPr id="0" name=""/>
        <dsp:cNvSpPr/>
      </dsp:nvSpPr>
      <dsp:spPr>
        <a:xfrm>
          <a:off x="4080402" y="4670113"/>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eedback Persistence</a:t>
          </a:r>
        </a:p>
      </dsp:txBody>
      <dsp:txXfrm>
        <a:off x="4100806" y="4690517"/>
        <a:ext cx="1004180" cy="655850"/>
      </dsp:txXfrm>
    </dsp:sp>
    <dsp:sp modelId="{D0464A9B-83F7-4A2D-94B3-57ED5F3C091B}">
      <dsp:nvSpPr>
        <dsp:cNvPr id="0" name=""/>
        <dsp:cNvSpPr/>
      </dsp:nvSpPr>
      <dsp:spPr>
        <a:xfrm>
          <a:off x="3244411" y="3416127"/>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F97BDF46-D920-42CC-AE1D-3430A1C11D9E}">
      <dsp:nvSpPr>
        <dsp:cNvPr id="0" name=""/>
        <dsp:cNvSpPr/>
      </dsp:nvSpPr>
      <dsp:spPr>
        <a:xfrm>
          <a:off x="4080402" y="3694791"/>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E Feedback</a:t>
          </a:r>
        </a:p>
      </dsp:txBody>
      <dsp:txXfrm>
        <a:off x="4100806" y="3715195"/>
        <a:ext cx="1004180" cy="655850"/>
      </dsp:txXfrm>
    </dsp:sp>
    <dsp:sp modelId="{BC3E3219-39C3-4268-83EE-67E130107410}">
      <dsp:nvSpPr>
        <dsp:cNvPr id="0" name=""/>
        <dsp:cNvSpPr/>
      </dsp:nvSpPr>
      <dsp:spPr>
        <a:xfrm>
          <a:off x="3244411" y="3416127"/>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1FCB1E33-4F48-4A78-8612-EB7710CE8354}">
      <dsp:nvSpPr>
        <dsp:cNvPr id="0" name=""/>
        <dsp:cNvSpPr/>
      </dsp:nvSpPr>
      <dsp:spPr>
        <a:xfrm>
          <a:off x="5438886" y="3694791"/>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OP Feedback</a:t>
          </a:r>
        </a:p>
      </dsp:txBody>
      <dsp:txXfrm>
        <a:off x="5459290" y="3715195"/>
        <a:ext cx="1004180" cy="655850"/>
      </dsp:txXfrm>
    </dsp:sp>
    <dsp:sp modelId="{54FE398B-EB4B-4376-8CAD-D5884C340DB3}">
      <dsp:nvSpPr>
        <dsp:cNvPr id="0" name=""/>
        <dsp:cNvSpPr/>
      </dsp:nvSpPr>
      <dsp:spPr>
        <a:xfrm>
          <a:off x="4602896" y="2440805"/>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4080402" y="27194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Table Variable Deferred Compilation</a:t>
          </a:r>
        </a:p>
      </dsp:txBody>
      <dsp:txXfrm>
        <a:off x="4100806" y="2739872"/>
        <a:ext cx="1004180" cy="655850"/>
      </dsp:txXfrm>
    </dsp:sp>
    <dsp:sp modelId="{54FC7E62-6BC8-4117-AE83-F7D461A58C56}">
      <dsp:nvSpPr>
        <dsp:cNvPr id="0" name=""/>
        <dsp:cNvSpPr/>
      </dsp:nvSpPr>
      <dsp:spPr>
        <a:xfrm>
          <a:off x="5961381" y="2440805"/>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5438886" y="27194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 On Rowstore Indexes</a:t>
          </a:r>
        </a:p>
      </dsp:txBody>
      <dsp:txXfrm>
        <a:off x="5459290" y="2739872"/>
        <a:ext cx="1004180" cy="655850"/>
      </dsp:txXfrm>
    </dsp:sp>
    <dsp:sp modelId="{8348335F-5BEF-45E6-9491-BE36F00A5827}">
      <dsp:nvSpPr>
        <dsp:cNvPr id="0" name=""/>
        <dsp:cNvSpPr/>
      </dsp:nvSpPr>
      <dsp:spPr>
        <a:xfrm>
          <a:off x="7274145" y="2440805"/>
          <a:ext cx="91440" cy="278663"/>
        </a:xfrm>
        <a:custGeom>
          <a:avLst/>
          <a:gdLst/>
          <a:ahLst/>
          <a:cxnLst/>
          <a:rect l="0" t="0" r="0" b="0"/>
          <a:pathLst>
            <a:path>
              <a:moveTo>
                <a:pt x="45720" y="0"/>
              </a:moveTo>
              <a:lnTo>
                <a:pt x="4572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797371" y="27194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calar UDF Inlining</a:t>
          </a:r>
        </a:p>
      </dsp:txBody>
      <dsp:txXfrm>
        <a:off x="6817775" y="2739872"/>
        <a:ext cx="1004180" cy="655850"/>
      </dsp:txXfrm>
    </dsp:sp>
    <dsp:sp modelId="{6BEB96AB-5069-4522-8BFE-22AE1E1907A1}">
      <dsp:nvSpPr>
        <dsp:cNvPr id="0" name=""/>
        <dsp:cNvSpPr/>
      </dsp:nvSpPr>
      <dsp:spPr>
        <a:xfrm>
          <a:off x="7319865" y="2440805"/>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8155856" y="27194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Query Processing</a:t>
          </a:r>
        </a:p>
      </dsp:txBody>
      <dsp:txXfrm>
        <a:off x="8176260" y="2739872"/>
        <a:ext cx="1004180" cy="655850"/>
      </dsp:txXfrm>
    </dsp:sp>
    <dsp:sp modelId="{29F63BC1-C5FC-44AA-8F97-ECEF56FF0ECF}">
      <dsp:nvSpPr>
        <dsp:cNvPr id="0" name=""/>
        <dsp:cNvSpPr/>
      </dsp:nvSpPr>
      <dsp:spPr>
        <a:xfrm>
          <a:off x="7999107" y="3416127"/>
          <a:ext cx="679242" cy="278663"/>
        </a:xfrm>
        <a:custGeom>
          <a:avLst/>
          <a:gdLst/>
          <a:ahLst/>
          <a:cxnLst/>
          <a:rect l="0" t="0" r="0" b="0"/>
          <a:pathLst>
            <a:path>
              <a:moveTo>
                <a:pt x="679242" y="0"/>
              </a:moveTo>
              <a:lnTo>
                <a:pt x="679242"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7476613" y="3694791"/>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Count Distinct</a:t>
          </a:r>
        </a:p>
      </dsp:txBody>
      <dsp:txXfrm>
        <a:off x="7497017" y="3715195"/>
        <a:ext cx="1004180" cy="655850"/>
      </dsp:txXfrm>
    </dsp:sp>
    <dsp:sp modelId="{A1CDEA6C-5A4D-425A-B7B4-C84037695A33}">
      <dsp:nvSpPr>
        <dsp:cNvPr id="0" name=""/>
        <dsp:cNvSpPr/>
      </dsp:nvSpPr>
      <dsp:spPr>
        <a:xfrm>
          <a:off x="8678350" y="3416127"/>
          <a:ext cx="679242" cy="278663"/>
        </a:xfrm>
        <a:custGeom>
          <a:avLst/>
          <a:gdLst/>
          <a:ahLst/>
          <a:cxnLst/>
          <a:rect l="0" t="0" r="0" b="0"/>
          <a:pathLst>
            <a:path>
              <a:moveTo>
                <a:pt x="0" y="0"/>
              </a:moveTo>
              <a:lnTo>
                <a:pt x="0" y="139331"/>
              </a:lnTo>
              <a:lnTo>
                <a:pt x="679242" y="139331"/>
              </a:lnTo>
              <a:lnTo>
                <a:pt x="679242"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12D3DA4-5AF8-45B2-9FCC-D6582DACED2F}">
      <dsp:nvSpPr>
        <dsp:cNvPr id="0" name=""/>
        <dsp:cNvSpPr/>
      </dsp:nvSpPr>
      <dsp:spPr>
        <a:xfrm>
          <a:off x="8835098" y="3694791"/>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Percentile</a:t>
          </a:r>
        </a:p>
      </dsp:txBody>
      <dsp:txXfrm>
        <a:off x="8855502" y="3715195"/>
        <a:ext cx="1004180" cy="655850"/>
      </dsp:txXfrm>
    </dsp:sp>
    <dsp:sp modelId="{12BB4D1C-4932-4FB5-A5B3-D9E9B7872BE0}">
      <dsp:nvSpPr>
        <dsp:cNvPr id="0" name=""/>
        <dsp:cNvSpPr/>
      </dsp:nvSpPr>
      <dsp:spPr>
        <a:xfrm>
          <a:off x="7319865" y="2440805"/>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11711BDA-6E88-4B70-AD55-C75947559D72}">
      <dsp:nvSpPr>
        <dsp:cNvPr id="0" name=""/>
        <dsp:cNvSpPr/>
      </dsp:nvSpPr>
      <dsp:spPr>
        <a:xfrm>
          <a:off x="9514340" y="2719468"/>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Optimized Plan Forcing</a:t>
          </a:r>
        </a:p>
      </dsp:txBody>
      <dsp:txXfrm>
        <a:off x="9534744" y="2739872"/>
        <a:ext cx="1004180" cy="655850"/>
      </dsp:txXfrm>
    </dsp:sp>
    <dsp:sp modelId="{09C8B667-CAD7-4DC0-985B-9B8F058B52AE}">
      <dsp:nvSpPr>
        <dsp:cNvPr id="0" name=""/>
        <dsp:cNvSpPr/>
      </dsp:nvSpPr>
      <dsp:spPr>
        <a:xfrm>
          <a:off x="7319865" y="2440805"/>
          <a:ext cx="4075453" cy="278663"/>
        </a:xfrm>
        <a:custGeom>
          <a:avLst/>
          <a:gdLst/>
          <a:ahLst/>
          <a:cxnLst/>
          <a:rect l="0" t="0" r="0" b="0"/>
          <a:pathLst>
            <a:path>
              <a:moveTo>
                <a:pt x="0" y="0"/>
              </a:moveTo>
              <a:lnTo>
                <a:pt x="0" y="139331"/>
              </a:lnTo>
              <a:lnTo>
                <a:pt x="4075453" y="139331"/>
              </a:lnTo>
              <a:lnTo>
                <a:pt x="4075453"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91731D73-B433-4ECC-937E-D3F66E307A04}">
      <dsp:nvSpPr>
        <dsp:cNvPr id="0" name=""/>
        <dsp:cNvSpPr/>
      </dsp:nvSpPr>
      <dsp:spPr>
        <a:xfrm>
          <a:off x="10872825" y="2719468"/>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arameter Sensitive Plan Optimization</a:t>
          </a:r>
        </a:p>
      </dsp:txBody>
      <dsp:txXfrm>
        <a:off x="10893229" y="2739872"/>
        <a:ext cx="1004180" cy="65585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722D08-C011-4DD1-8142-126293CB9841}">
      <dsp:nvSpPr>
        <dsp:cNvPr id="0" name=""/>
        <dsp:cNvSpPr/>
      </dsp:nvSpPr>
      <dsp:spPr>
        <a:xfrm rot="5400000">
          <a:off x="7206189" y="-2885783"/>
          <a:ext cx="1290512" cy="7389596"/>
        </a:xfrm>
        <a:prstGeom prst="round2SameRect">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b="0" i="0" kern="1200" baseline="0"/>
            <a:t>Enabled by default in Compatibility level 140 or higher</a:t>
          </a:r>
          <a:endParaRPr lang="en-US" sz="2200" kern="1200"/>
        </a:p>
        <a:p>
          <a:pPr marL="228600" lvl="1" indent="-228600" algn="l" defTabSz="977900">
            <a:lnSpc>
              <a:spcPct val="90000"/>
            </a:lnSpc>
            <a:spcBef>
              <a:spcPct val="0"/>
            </a:spcBef>
            <a:spcAft>
              <a:spcPct val="15000"/>
            </a:spcAft>
            <a:buChar char="•"/>
          </a:pPr>
          <a:r>
            <a:rPr lang="en-US" sz="2200" b="0" i="0" kern="1200" baseline="0"/>
            <a:t>To disable change compatibility level to 130 or lower</a:t>
          </a:r>
          <a:endParaRPr lang="en-US" sz="2200" kern="1200"/>
        </a:p>
      </dsp:txBody>
      <dsp:txXfrm rot="-5400000">
        <a:off x="4156647" y="226757"/>
        <a:ext cx="7326598" cy="1164516"/>
      </dsp:txXfrm>
    </dsp:sp>
    <dsp:sp modelId="{218FD34E-2541-406A-A55B-A25B88950A10}">
      <dsp:nvSpPr>
        <dsp:cNvPr id="0" name=""/>
        <dsp:cNvSpPr/>
      </dsp:nvSpPr>
      <dsp:spPr>
        <a:xfrm>
          <a:off x="0" y="2444"/>
          <a:ext cx="4156647" cy="1613141"/>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b="0" i="0" kern="1200" baseline="0"/>
            <a:t>For SQL Server 2017 Features</a:t>
          </a:r>
          <a:endParaRPr lang="en-US" sz="4200" kern="1200"/>
        </a:p>
      </dsp:txBody>
      <dsp:txXfrm>
        <a:off x="78747" y="81191"/>
        <a:ext cx="3999153" cy="1455647"/>
      </dsp:txXfrm>
    </dsp:sp>
    <dsp:sp modelId="{57B402D0-3813-4A24-A54B-61124215544D}">
      <dsp:nvSpPr>
        <dsp:cNvPr id="0" name=""/>
        <dsp:cNvSpPr/>
      </dsp:nvSpPr>
      <dsp:spPr>
        <a:xfrm rot="5400000">
          <a:off x="7206189" y="-1191985"/>
          <a:ext cx="1290512" cy="7389596"/>
        </a:xfrm>
        <a:prstGeom prst="round2SameRect">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b="0" i="0" kern="1200" baseline="0"/>
            <a:t>Enabled by default in Compatibility level 150 or higher</a:t>
          </a:r>
          <a:endParaRPr lang="en-US" sz="2200" kern="1200"/>
        </a:p>
        <a:p>
          <a:pPr marL="228600" lvl="1" indent="-228600" algn="l" defTabSz="977900">
            <a:lnSpc>
              <a:spcPct val="90000"/>
            </a:lnSpc>
            <a:spcBef>
              <a:spcPct val="0"/>
            </a:spcBef>
            <a:spcAft>
              <a:spcPct val="15000"/>
            </a:spcAft>
            <a:buChar char="•"/>
          </a:pPr>
          <a:r>
            <a:rPr lang="en-US" sz="2200" b="0" i="0" kern="1200" baseline="0"/>
            <a:t>To disable change compatibility level to 140 or lower</a:t>
          </a:r>
          <a:endParaRPr lang="en-US" sz="2200" kern="1200"/>
        </a:p>
      </dsp:txBody>
      <dsp:txXfrm rot="-5400000">
        <a:off x="4156647" y="1920555"/>
        <a:ext cx="7326598" cy="1164516"/>
      </dsp:txXfrm>
    </dsp:sp>
    <dsp:sp modelId="{2CEAB421-F7F0-4DBA-8BC0-61523C870BAD}">
      <dsp:nvSpPr>
        <dsp:cNvPr id="0" name=""/>
        <dsp:cNvSpPr/>
      </dsp:nvSpPr>
      <dsp:spPr>
        <a:xfrm>
          <a:off x="0" y="1696242"/>
          <a:ext cx="4156647" cy="1613141"/>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b="0" i="0" kern="1200" baseline="0"/>
            <a:t>For SQL Server 2019 Features</a:t>
          </a:r>
          <a:endParaRPr lang="en-US" sz="4200" kern="1200"/>
        </a:p>
      </dsp:txBody>
      <dsp:txXfrm>
        <a:off x="78747" y="1774989"/>
        <a:ext cx="3999153" cy="1455647"/>
      </dsp:txXfrm>
    </dsp:sp>
    <dsp:sp modelId="{626A19CE-ED32-4563-82E3-899C299E48A3}">
      <dsp:nvSpPr>
        <dsp:cNvPr id="0" name=""/>
        <dsp:cNvSpPr/>
      </dsp:nvSpPr>
      <dsp:spPr>
        <a:xfrm rot="5400000">
          <a:off x="7206189" y="501813"/>
          <a:ext cx="1290512" cy="7389596"/>
        </a:xfrm>
        <a:prstGeom prst="round2SameRect">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b="0" i="0" kern="1200" baseline="0"/>
            <a:t>Enabled by default in Compatibility level 160 or higher</a:t>
          </a:r>
          <a:endParaRPr lang="en-US" sz="2200" kern="1200"/>
        </a:p>
        <a:p>
          <a:pPr marL="228600" lvl="1" indent="-228600" algn="l" defTabSz="977900">
            <a:lnSpc>
              <a:spcPct val="90000"/>
            </a:lnSpc>
            <a:spcBef>
              <a:spcPct val="0"/>
            </a:spcBef>
            <a:spcAft>
              <a:spcPct val="15000"/>
            </a:spcAft>
            <a:buChar char="•"/>
          </a:pPr>
          <a:r>
            <a:rPr lang="en-US" sz="2200" b="0" i="0" kern="1200" baseline="0"/>
            <a:t>To disable change compatibility level to 150 or lower</a:t>
          </a:r>
          <a:endParaRPr lang="en-US" sz="2200" kern="1200"/>
        </a:p>
      </dsp:txBody>
      <dsp:txXfrm rot="-5400000">
        <a:off x="4156647" y="3614353"/>
        <a:ext cx="7326598" cy="1164516"/>
      </dsp:txXfrm>
    </dsp:sp>
    <dsp:sp modelId="{5B24DDF3-44E0-40FF-B14A-8F8A9E374E17}">
      <dsp:nvSpPr>
        <dsp:cNvPr id="0" name=""/>
        <dsp:cNvSpPr/>
      </dsp:nvSpPr>
      <dsp:spPr>
        <a:xfrm>
          <a:off x="0" y="3390040"/>
          <a:ext cx="4156647" cy="1613141"/>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b="0" i="0" kern="1200" baseline="0"/>
            <a:t>For SQL Server 2022 Features</a:t>
          </a:r>
          <a:endParaRPr lang="en-US" sz="4200" kern="1200"/>
        </a:p>
      </dsp:txBody>
      <dsp:txXfrm>
        <a:off x="78747" y="3468787"/>
        <a:ext cx="3999153" cy="145564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6797371" y="1577346"/>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lligent Query Processing</a:t>
          </a:r>
        </a:p>
      </dsp:txBody>
      <dsp:txXfrm>
        <a:off x="6817775" y="1597750"/>
        <a:ext cx="1004180" cy="655850"/>
      </dsp:txXfrm>
    </dsp:sp>
    <dsp:sp modelId="{2A969FB1-A0CA-4BCB-9811-B1C2A2D37CF2}">
      <dsp:nvSpPr>
        <dsp:cNvPr id="0" name=""/>
        <dsp:cNvSpPr/>
      </dsp:nvSpPr>
      <dsp:spPr>
        <a:xfrm>
          <a:off x="3244411" y="2274004"/>
          <a:ext cx="4075453" cy="278663"/>
        </a:xfrm>
        <a:custGeom>
          <a:avLst/>
          <a:gdLst/>
          <a:ahLst/>
          <a:cxnLst/>
          <a:rect l="0" t="0" r="0" b="0"/>
          <a:pathLst>
            <a:path>
              <a:moveTo>
                <a:pt x="4075453" y="0"/>
              </a:moveTo>
              <a:lnTo>
                <a:pt x="4075453"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AC8CF5E-1D5D-4BBE-AAC6-1A65B9CD9224}">
      <dsp:nvSpPr>
        <dsp:cNvPr id="0" name=""/>
        <dsp:cNvSpPr/>
      </dsp:nvSpPr>
      <dsp:spPr>
        <a:xfrm>
          <a:off x="2721917" y="2552668"/>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Query Processing</a:t>
          </a:r>
        </a:p>
      </dsp:txBody>
      <dsp:txXfrm>
        <a:off x="2742321" y="2573072"/>
        <a:ext cx="1004180" cy="655850"/>
      </dsp:txXfrm>
    </dsp:sp>
    <dsp:sp modelId="{9B0BC5A7-6A70-41C3-871D-416E6CE7FB15}">
      <dsp:nvSpPr>
        <dsp:cNvPr id="0" name=""/>
        <dsp:cNvSpPr/>
      </dsp:nvSpPr>
      <dsp:spPr>
        <a:xfrm>
          <a:off x="527442" y="3249327"/>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4948" y="3527990"/>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Joins</a:t>
          </a:r>
        </a:p>
      </dsp:txBody>
      <dsp:txXfrm>
        <a:off x="25352" y="3548394"/>
        <a:ext cx="1004180" cy="655850"/>
      </dsp:txXfrm>
    </dsp:sp>
    <dsp:sp modelId="{52433208-80E6-4924-B192-66BA710CE757}">
      <dsp:nvSpPr>
        <dsp:cNvPr id="0" name=""/>
        <dsp:cNvSpPr/>
      </dsp:nvSpPr>
      <dsp:spPr>
        <a:xfrm>
          <a:off x="1885927" y="3249327"/>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1363433" y="3527990"/>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rleaved Execution</a:t>
          </a:r>
        </a:p>
      </dsp:txBody>
      <dsp:txXfrm>
        <a:off x="1383837" y="3548394"/>
        <a:ext cx="1004180" cy="655850"/>
      </dsp:txXfrm>
    </dsp:sp>
    <dsp:sp modelId="{BF248486-F648-4871-903F-93B482640036}">
      <dsp:nvSpPr>
        <dsp:cNvPr id="0" name=""/>
        <dsp:cNvSpPr/>
      </dsp:nvSpPr>
      <dsp:spPr>
        <a:xfrm>
          <a:off x="3198691" y="3249327"/>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1027D77-40B4-492F-B9BC-73968B2B92A0}">
      <dsp:nvSpPr>
        <dsp:cNvPr id="0" name=""/>
        <dsp:cNvSpPr/>
      </dsp:nvSpPr>
      <dsp:spPr>
        <a:xfrm>
          <a:off x="2721917" y="3527990"/>
          <a:ext cx="1044988" cy="696658"/>
        </a:xfrm>
        <a:prstGeom prst="roundRect">
          <a:avLst>
            <a:gd name="adj" fmla="val 10000"/>
          </a:avLst>
        </a:prstGeom>
        <a:solidFill>
          <a:schemeClr val="accent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emory Grant Feedback</a:t>
          </a:r>
        </a:p>
      </dsp:txBody>
      <dsp:txXfrm>
        <a:off x="2742321" y="3548394"/>
        <a:ext cx="1004180" cy="655850"/>
      </dsp:txXfrm>
    </dsp:sp>
    <dsp:sp modelId="{5690923D-9059-4138-8ACF-90D405019F80}">
      <dsp:nvSpPr>
        <dsp:cNvPr id="0" name=""/>
        <dsp:cNvSpPr/>
      </dsp:nvSpPr>
      <dsp:spPr>
        <a:xfrm>
          <a:off x="1885927" y="4224649"/>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1363433" y="4503313"/>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a:t>
          </a:r>
        </a:p>
      </dsp:txBody>
      <dsp:txXfrm>
        <a:off x="1383837" y="4523717"/>
        <a:ext cx="1004180" cy="655850"/>
      </dsp:txXfrm>
    </dsp:sp>
    <dsp:sp modelId="{810926B5-7D25-4DDF-8B56-5D578BE910C7}">
      <dsp:nvSpPr>
        <dsp:cNvPr id="0" name=""/>
        <dsp:cNvSpPr/>
      </dsp:nvSpPr>
      <dsp:spPr>
        <a:xfrm>
          <a:off x="3198691" y="4224649"/>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27787B6-C2E1-41AC-8A63-E0D44F6095FA}">
      <dsp:nvSpPr>
        <dsp:cNvPr id="0" name=""/>
        <dsp:cNvSpPr/>
      </dsp:nvSpPr>
      <dsp:spPr>
        <a:xfrm>
          <a:off x="2721917" y="450331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Row Mode</a:t>
          </a:r>
        </a:p>
      </dsp:txBody>
      <dsp:txXfrm>
        <a:off x="2742321" y="4523717"/>
        <a:ext cx="1004180" cy="655850"/>
      </dsp:txXfrm>
    </dsp:sp>
    <dsp:sp modelId="{5CC0C396-8377-475C-A00D-7F8341A1F477}">
      <dsp:nvSpPr>
        <dsp:cNvPr id="0" name=""/>
        <dsp:cNvSpPr/>
      </dsp:nvSpPr>
      <dsp:spPr>
        <a:xfrm>
          <a:off x="3244411" y="4224649"/>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2B5BF8B-57A2-4E22-AA4A-CDE9EE34C77B}">
      <dsp:nvSpPr>
        <dsp:cNvPr id="0" name=""/>
        <dsp:cNvSpPr/>
      </dsp:nvSpPr>
      <dsp:spPr>
        <a:xfrm>
          <a:off x="4080402" y="4503313"/>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eedback Persistence</a:t>
          </a:r>
        </a:p>
      </dsp:txBody>
      <dsp:txXfrm>
        <a:off x="4100806" y="4523717"/>
        <a:ext cx="1004180" cy="655850"/>
      </dsp:txXfrm>
    </dsp:sp>
    <dsp:sp modelId="{D0464A9B-83F7-4A2D-94B3-57ED5F3C091B}">
      <dsp:nvSpPr>
        <dsp:cNvPr id="0" name=""/>
        <dsp:cNvSpPr/>
      </dsp:nvSpPr>
      <dsp:spPr>
        <a:xfrm>
          <a:off x="3244411" y="3249327"/>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F97BDF46-D920-42CC-AE1D-3430A1C11D9E}">
      <dsp:nvSpPr>
        <dsp:cNvPr id="0" name=""/>
        <dsp:cNvSpPr/>
      </dsp:nvSpPr>
      <dsp:spPr>
        <a:xfrm>
          <a:off x="4080402" y="3527990"/>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E Feedback</a:t>
          </a:r>
        </a:p>
      </dsp:txBody>
      <dsp:txXfrm>
        <a:off x="4100806" y="3548394"/>
        <a:ext cx="1004180" cy="655850"/>
      </dsp:txXfrm>
    </dsp:sp>
    <dsp:sp modelId="{BC3E3219-39C3-4268-83EE-67E130107410}">
      <dsp:nvSpPr>
        <dsp:cNvPr id="0" name=""/>
        <dsp:cNvSpPr/>
      </dsp:nvSpPr>
      <dsp:spPr>
        <a:xfrm>
          <a:off x="3244411" y="3249327"/>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1FCB1E33-4F48-4A78-8612-EB7710CE8354}">
      <dsp:nvSpPr>
        <dsp:cNvPr id="0" name=""/>
        <dsp:cNvSpPr/>
      </dsp:nvSpPr>
      <dsp:spPr>
        <a:xfrm>
          <a:off x="5438886" y="3527990"/>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OP Feedback</a:t>
          </a:r>
        </a:p>
      </dsp:txBody>
      <dsp:txXfrm>
        <a:off x="5459290" y="3548394"/>
        <a:ext cx="1004180" cy="655850"/>
      </dsp:txXfrm>
    </dsp:sp>
    <dsp:sp modelId="{54FE398B-EB4B-4376-8CAD-D5884C340DB3}">
      <dsp:nvSpPr>
        <dsp:cNvPr id="0" name=""/>
        <dsp:cNvSpPr/>
      </dsp:nvSpPr>
      <dsp:spPr>
        <a:xfrm>
          <a:off x="4602896" y="2274004"/>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4080402" y="25526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Table Variable Deferred Compilation</a:t>
          </a:r>
        </a:p>
      </dsp:txBody>
      <dsp:txXfrm>
        <a:off x="4100806" y="2573072"/>
        <a:ext cx="1004180" cy="655850"/>
      </dsp:txXfrm>
    </dsp:sp>
    <dsp:sp modelId="{54FC7E62-6BC8-4117-AE83-F7D461A58C56}">
      <dsp:nvSpPr>
        <dsp:cNvPr id="0" name=""/>
        <dsp:cNvSpPr/>
      </dsp:nvSpPr>
      <dsp:spPr>
        <a:xfrm>
          <a:off x="5961381" y="2274004"/>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5438886" y="25526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 On Rowstore Indexes</a:t>
          </a:r>
        </a:p>
      </dsp:txBody>
      <dsp:txXfrm>
        <a:off x="5459290" y="2573072"/>
        <a:ext cx="1004180" cy="655850"/>
      </dsp:txXfrm>
    </dsp:sp>
    <dsp:sp modelId="{8348335F-5BEF-45E6-9491-BE36F00A5827}">
      <dsp:nvSpPr>
        <dsp:cNvPr id="0" name=""/>
        <dsp:cNvSpPr/>
      </dsp:nvSpPr>
      <dsp:spPr>
        <a:xfrm>
          <a:off x="7274145" y="2274004"/>
          <a:ext cx="91440" cy="278663"/>
        </a:xfrm>
        <a:custGeom>
          <a:avLst/>
          <a:gdLst/>
          <a:ahLst/>
          <a:cxnLst/>
          <a:rect l="0" t="0" r="0" b="0"/>
          <a:pathLst>
            <a:path>
              <a:moveTo>
                <a:pt x="45720" y="0"/>
              </a:moveTo>
              <a:lnTo>
                <a:pt x="4572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797371" y="25526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calar UDF Inlining</a:t>
          </a:r>
        </a:p>
      </dsp:txBody>
      <dsp:txXfrm>
        <a:off x="6817775" y="2573072"/>
        <a:ext cx="1004180" cy="655850"/>
      </dsp:txXfrm>
    </dsp:sp>
    <dsp:sp modelId="{6BEB96AB-5069-4522-8BFE-22AE1E1907A1}">
      <dsp:nvSpPr>
        <dsp:cNvPr id="0" name=""/>
        <dsp:cNvSpPr/>
      </dsp:nvSpPr>
      <dsp:spPr>
        <a:xfrm>
          <a:off x="7319865" y="2274004"/>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8155856" y="25526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Query Processing</a:t>
          </a:r>
        </a:p>
      </dsp:txBody>
      <dsp:txXfrm>
        <a:off x="8176260" y="2573072"/>
        <a:ext cx="1004180" cy="655850"/>
      </dsp:txXfrm>
    </dsp:sp>
    <dsp:sp modelId="{29F63BC1-C5FC-44AA-8F97-ECEF56FF0ECF}">
      <dsp:nvSpPr>
        <dsp:cNvPr id="0" name=""/>
        <dsp:cNvSpPr/>
      </dsp:nvSpPr>
      <dsp:spPr>
        <a:xfrm>
          <a:off x="7999107" y="3249327"/>
          <a:ext cx="679242" cy="278663"/>
        </a:xfrm>
        <a:custGeom>
          <a:avLst/>
          <a:gdLst/>
          <a:ahLst/>
          <a:cxnLst/>
          <a:rect l="0" t="0" r="0" b="0"/>
          <a:pathLst>
            <a:path>
              <a:moveTo>
                <a:pt x="679242" y="0"/>
              </a:moveTo>
              <a:lnTo>
                <a:pt x="679242"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7476613" y="3527990"/>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Count Distinct</a:t>
          </a:r>
        </a:p>
      </dsp:txBody>
      <dsp:txXfrm>
        <a:off x="7497017" y="3548394"/>
        <a:ext cx="1004180" cy="655850"/>
      </dsp:txXfrm>
    </dsp:sp>
    <dsp:sp modelId="{A1CDEA6C-5A4D-425A-B7B4-C84037695A33}">
      <dsp:nvSpPr>
        <dsp:cNvPr id="0" name=""/>
        <dsp:cNvSpPr/>
      </dsp:nvSpPr>
      <dsp:spPr>
        <a:xfrm>
          <a:off x="8678350" y="3249327"/>
          <a:ext cx="679242" cy="278663"/>
        </a:xfrm>
        <a:custGeom>
          <a:avLst/>
          <a:gdLst/>
          <a:ahLst/>
          <a:cxnLst/>
          <a:rect l="0" t="0" r="0" b="0"/>
          <a:pathLst>
            <a:path>
              <a:moveTo>
                <a:pt x="0" y="0"/>
              </a:moveTo>
              <a:lnTo>
                <a:pt x="0" y="139331"/>
              </a:lnTo>
              <a:lnTo>
                <a:pt x="679242" y="139331"/>
              </a:lnTo>
              <a:lnTo>
                <a:pt x="679242"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12D3DA4-5AF8-45B2-9FCC-D6582DACED2F}">
      <dsp:nvSpPr>
        <dsp:cNvPr id="0" name=""/>
        <dsp:cNvSpPr/>
      </dsp:nvSpPr>
      <dsp:spPr>
        <a:xfrm>
          <a:off x="8835098" y="3527990"/>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Percentile</a:t>
          </a:r>
        </a:p>
      </dsp:txBody>
      <dsp:txXfrm>
        <a:off x="8855502" y="3548394"/>
        <a:ext cx="1004180" cy="655850"/>
      </dsp:txXfrm>
    </dsp:sp>
    <dsp:sp modelId="{527B0E77-7EB2-429E-AE69-E261FDCB7833}">
      <dsp:nvSpPr>
        <dsp:cNvPr id="0" name=""/>
        <dsp:cNvSpPr/>
      </dsp:nvSpPr>
      <dsp:spPr>
        <a:xfrm>
          <a:off x="7319865" y="2274004"/>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60C6DAC9-637D-431F-9AFD-95F84B4698A9}">
      <dsp:nvSpPr>
        <dsp:cNvPr id="0" name=""/>
        <dsp:cNvSpPr/>
      </dsp:nvSpPr>
      <dsp:spPr>
        <a:xfrm>
          <a:off x="9514340" y="2552668"/>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Optimized Plan Forcing</a:t>
          </a:r>
        </a:p>
      </dsp:txBody>
      <dsp:txXfrm>
        <a:off x="9534744" y="2573072"/>
        <a:ext cx="1004180" cy="655850"/>
      </dsp:txXfrm>
    </dsp:sp>
    <dsp:sp modelId="{09C8B667-CAD7-4DC0-985B-9B8F058B52AE}">
      <dsp:nvSpPr>
        <dsp:cNvPr id="0" name=""/>
        <dsp:cNvSpPr/>
      </dsp:nvSpPr>
      <dsp:spPr>
        <a:xfrm>
          <a:off x="7319865" y="2274004"/>
          <a:ext cx="4075453" cy="278663"/>
        </a:xfrm>
        <a:custGeom>
          <a:avLst/>
          <a:gdLst/>
          <a:ahLst/>
          <a:cxnLst/>
          <a:rect l="0" t="0" r="0" b="0"/>
          <a:pathLst>
            <a:path>
              <a:moveTo>
                <a:pt x="0" y="0"/>
              </a:moveTo>
              <a:lnTo>
                <a:pt x="0" y="139331"/>
              </a:lnTo>
              <a:lnTo>
                <a:pt x="4075453" y="139331"/>
              </a:lnTo>
              <a:lnTo>
                <a:pt x="4075453"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91731D73-B433-4ECC-937E-D3F66E307A04}">
      <dsp:nvSpPr>
        <dsp:cNvPr id="0" name=""/>
        <dsp:cNvSpPr/>
      </dsp:nvSpPr>
      <dsp:spPr>
        <a:xfrm>
          <a:off x="10872825" y="2552668"/>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arameter Sensitive Plan Optimization</a:t>
          </a:r>
        </a:p>
      </dsp:txBody>
      <dsp:txXfrm>
        <a:off x="10893229" y="2573072"/>
        <a:ext cx="1004180" cy="65585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5058854" y="73135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telligent Query Processing</a:t>
          </a:r>
        </a:p>
      </dsp:txBody>
      <dsp:txXfrm>
        <a:off x="5089239" y="761738"/>
        <a:ext cx="1495362" cy="976651"/>
      </dsp:txXfrm>
    </dsp:sp>
    <dsp:sp modelId="{54FE398B-EB4B-4376-8CAD-D5884C340DB3}">
      <dsp:nvSpPr>
        <dsp:cNvPr id="0" name=""/>
        <dsp:cNvSpPr/>
      </dsp:nvSpPr>
      <dsp:spPr>
        <a:xfrm>
          <a:off x="779491" y="1768774"/>
          <a:ext cx="5057429" cy="414968"/>
        </a:xfrm>
        <a:custGeom>
          <a:avLst/>
          <a:gdLst/>
          <a:ahLst/>
          <a:cxnLst/>
          <a:rect l="0" t="0" r="0" b="0"/>
          <a:pathLst>
            <a:path>
              <a:moveTo>
                <a:pt x="5057429" y="0"/>
              </a:moveTo>
              <a:lnTo>
                <a:pt x="5057429" y="207484"/>
              </a:lnTo>
              <a:lnTo>
                <a:pt x="0" y="207484"/>
              </a:lnTo>
              <a:lnTo>
                <a:pt x="0"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1425"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Table Variable Deferred Compilation</a:t>
          </a:r>
        </a:p>
      </dsp:txBody>
      <dsp:txXfrm>
        <a:off x="31810" y="2214128"/>
        <a:ext cx="1495362" cy="976651"/>
      </dsp:txXfrm>
    </dsp:sp>
    <dsp:sp modelId="{54FC7E62-6BC8-4117-AE83-F7D461A58C56}">
      <dsp:nvSpPr>
        <dsp:cNvPr id="0" name=""/>
        <dsp:cNvSpPr/>
      </dsp:nvSpPr>
      <dsp:spPr>
        <a:xfrm>
          <a:off x="2802463" y="1768774"/>
          <a:ext cx="3034457" cy="414968"/>
        </a:xfrm>
        <a:custGeom>
          <a:avLst/>
          <a:gdLst/>
          <a:ahLst/>
          <a:cxnLst/>
          <a:rect l="0" t="0" r="0" b="0"/>
          <a:pathLst>
            <a:path>
              <a:moveTo>
                <a:pt x="3034457" y="0"/>
              </a:moveTo>
              <a:lnTo>
                <a:pt x="3034457" y="207484"/>
              </a:lnTo>
              <a:lnTo>
                <a:pt x="0" y="207484"/>
              </a:lnTo>
              <a:lnTo>
                <a:pt x="0"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2024396"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Batch Mode On Rowstore Indexes</a:t>
          </a:r>
        </a:p>
      </dsp:txBody>
      <dsp:txXfrm>
        <a:off x="2054781" y="2214128"/>
        <a:ext cx="1495362" cy="976651"/>
      </dsp:txXfrm>
    </dsp:sp>
    <dsp:sp modelId="{8348335F-5BEF-45E6-9491-BE36F00A5827}">
      <dsp:nvSpPr>
        <dsp:cNvPr id="0" name=""/>
        <dsp:cNvSpPr/>
      </dsp:nvSpPr>
      <dsp:spPr>
        <a:xfrm>
          <a:off x="4825435" y="1768774"/>
          <a:ext cx="1011485" cy="414968"/>
        </a:xfrm>
        <a:custGeom>
          <a:avLst/>
          <a:gdLst/>
          <a:ahLst/>
          <a:cxnLst/>
          <a:rect l="0" t="0" r="0" b="0"/>
          <a:pathLst>
            <a:path>
              <a:moveTo>
                <a:pt x="1011485" y="0"/>
              </a:moveTo>
              <a:lnTo>
                <a:pt x="1011485" y="207484"/>
              </a:lnTo>
              <a:lnTo>
                <a:pt x="0" y="207484"/>
              </a:lnTo>
              <a:lnTo>
                <a:pt x="0"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4047368"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calar UDF Inlining</a:t>
          </a:r>
        </a:p>
      </dsp:txBody>
      <dsp:txXfrm>
        <a:off x="4077753" y="2214128"/>
        <a:ext cx="1495362" cy="976651"/>
      </dsp:txXfrm>
    </dsp:sp>
    <dsp:sp modelId="{6BEB96AB-5069-4522-8BFE-22AE1E1907A1}">
      <dsp:nvSpPr>
        <dsp:cNvPr id="0" name=""/>
        <dsp:cNvSpPr/>
      </dsp:nvSpPr>
      <dsp:spPr>
        <a:xfrm>
          <a:off x="5836921" y="1768774"/>
          <a:ext cx="1011485" cy="414968"/>
        </a:xfrm>
        <a:custGeom>
          <a:avLst/>
          <a:gdLst/>
          <a:ahLst/>
          <a:cxnLst/>
          <a:rect l="0" t="0" r="0" b="0"/>
          <a:pathLst>
            <a:path>
              <a:moveTo>
                <a:pt x="0" y="0"/>
              </a:moveTo>
              <a:lnTo>
                <a:pt x="0" y="207484"/>
              </a:lnTo>
              <a:lnTo>
                <a:pt x="1011485" y="207484"/>
              </a:lnTo>
              <a:lnTo>
                <a:pt x="1011485"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6070340" y="218374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Query Processing</a:t>
          </a:r>
        </a:p>
      </dsp:txBody>
      <dsp:txXfrm>
        <a:off x="6100725" y="2214128"/>
        <a:ext cx="1495362" cy="976651"/>
      </dsp:txXfrm>
    </dsp:sp>
    <dsp:sp modelId="{29F63BC1-C5FC-44AA-8F97-ECEF56FF0ECF}">
      <dsp:nvSpPr>
        <dsp:cNvPr id="0" name=""/>
        <dsp:cNvSpPr/>
      </dsp:nvSpPr>
      <dsp:spPr>
        <a:xfrm>
          <a:off x="5836921" y="3221164"/>
          <a:ext cx="1011485" cy="414968"/>
        </a:xfrm>
        <a:custGeom>
          <a:avLst/>
          <a:gdLst/>
          <a:ahLst/>
          <a:cxnLst/>
          <a:rect l="0" t="0" r="0" b="0"/>
          <a:pathLst>
            <a:path>
              <a:moveTo>
                <a:pt x="1011485" y="0"/>
              </a:moveTo>
              <a:lnTo>
                <a:pt x="1011485" y="207484"/>
              </a:lnTo>
              <a:lnTo>
                <a:pt x="0" y="207484"/>
              </a:lnTo>
              <a:lnTo>
                <a:pt x="0" y="414968"/>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5058854" y="3636133"/>
          <a:ext cx="1556132" cy="103742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Count Distinct</a:t>
          </a:r>
        </a:p>
      </dsp:txBody>
      <dsp:txXfrm>
        <a:off x="5089239" y="3666518"/>
        <a:ext cx="1495362" cy="976651"/>
      </dsp:txXfrm>
    </dsp:sp>
    <dsp:sp modelId="{889A4762-3DAB-4D3A-970C-9B5EB089C878}">
      <dsp:nvSpPr>
        <dsp:cNvPr id="0" name=""/>
        <dsp:cNvSpPr/>
      </dsp:nvSpPr>
      <dsp:spPr>
        <a:xfrm>
          <a:off x="6848406" y="3221164"/>
          <a:ext cx="1011485" cy="414968"/>
        </a:xfrm>
        <a:custGeom>
          <a:avLst/>
          <a:gdLst/>
          <a:ahLst/>
          <a:cxnLst/>
          <a:rect l="0" t="0" r="0" b="0"/>
          <a:pathLst>
            <a:path>
              <a:moveTo>
                <a:pt x="0" y="0"/>
              </a:moveTo>
              <a:lnTo>
                <a:pt x="0" y="207484"/>
              </a:lnTo>
              <a:lnTo>
                <a:pt x="1011485" y="207484"/>
              </a:lnTo>
              <a:lnTo>
                <a:pt x="1011485" y="414968"/>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B9AE974-294C-4358-BF24-07E1BB7770F2}">
      <dsp:nvSpPr>
        <dsp:cNvPr id="0" name=""/>
        <dsp:cNvSpPr/>
      </dsp:nvSpPr>
      <dsp:spPr>
        <a:xfrm>
          <a:off x="7081826" y="3636133"/>
          <a:ext cx="1556132" cy="1037421"/>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pproximate Percentile</a:t>
          </a:r>
        </a:p>
      </dsp:txBody>
      <dsp:txXfrm>
        <a:off x="7112211" y="3666518"/>
        <a:ext cx="1495362" cy="976651"/>
      </dsp:txXfrm>
    </dsp:sp>
    <dsp:sp modelId="{7AA21635-E323-4213-93F2-9043E3D4FE8B}">
      <dsp:nvSpPr>
        <dsp:cNvPr id="0" name=""/>
        <dsp:cNvSpPr/>
      </dsp:nvSpPr>
      <dsp:spPr>
        <a:xfrm>
          <a:off x="5836921" y="1768774"/>
          <a:ext cx="3034457" cy="414968"/>
        </a:xfrm>
        <a:custGeom>
          <a:avLst/>
          <a:gdLst/>
          <a:ahLst/>
          <a:cxnLst/>
          <a:rect l="0" t="0" r="0" b="0"/>
          <a:pathLst>
            <a:path>
              <a:moveTo>
                <a:pt x="0" y="0"/>
              </a:moveTo>
              <a:lnTo>
                <a:pt x="0" y="207484"/>
              </a:lnTo>
              <a:lnTo>
                <a:pt x="3034457" y="207484"/>
              </a:lnTo>
              <a:lnTo>
                <a:pt x="3034457"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60EFB09A-C2CB-4EC8-A783-B2648B63E9CB}">
      <dsp:nvSpPr>
        <dsp:cNvPr id="0" name=""/>
        <dsp:cNvSpPr/>
      </dsp:nvSpPr>
      <dsp:spPr>
        <a:xfrm>
          <a:off x="8093312" y="2183743"/>
          <a:ext cx="1556132" cy="1006091"/>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Optimized Plan Forcing</a:t>
          </a:r>
        </a:p>
      </dsp:txBody>
      <dsp:txXfrm>
        <a:off x="8122779" y="2213210"/>
        <a:ext cx="1497198" cy="947157"/>
      </dsp:txXfrm>
    </dsp:sp>
    <dsp:sp modelId="{74C6BCCD-BD7B-426A-9359-D64450E21E2D}">
      <dsp:nvSpPr>
        <dsp:cNvPr id="0" name=""/>
        <dsp:cNvSpPr/>
      </dsp:nvSpPr>
      <dsp:spPr>
        <a:xfrm>
          <a:off x="5836921" y="1768774"/>
          <a:ext cx="5057429" cy="414968"/>
        </a:xfrm>
        <a:custGeom>
          <a:avLst/>
          <a:gdLst/>
          <a:ahLst/>
          <a:cxnLst/>
          <a:rect l="0" t="0" r="0" b="0"/>
          <a:pathLst>
            <a:path>
              <a:moveTo>
                <a:pt x="0" y="0"/>
              </a:moveTo>
              <a:lnTo>
                <a:pt x="0" y="207484"/>
              </a:lnTo>
              <a:lnTo>
                <a:pt x="5057429" y="207484"/>
              </a:lnTo>
              <a:lnTo>
                <a:pt x="5057429" y="41496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2AE38C-F0BE-4DE0-9CE7-6AA387AF0EF1}">
      <dsp:nvSpPr>
        <dsp:cNvPr id="0" name=""/>
        <dsp:cNvSpPr/>
      </dsp:nvSpPr>
      <dsp:spPr>
        <a:xfrm>
          <a:off x="10116284" y="2183743"/>
          <a:ext cx="1556132" cy="1037421"/>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Parameter </a:t>
          </a:r>
          <a:r>
            <a:rPr lang="en-US" sz="1700" kern="1200" dirty="0"/>
            <a:t>Sensitive Plan Optimization</a:t>
          </a:r>
        </a:p>
      </dsp:txBody>
      <dsp:txXfrm>
        <a:off x="10146669" y="2214128"/>
        <a:ext cx="1495362" cy="97665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611699-6C85-4FBF-AB47-DBD3C7959DCE}">
      <dsp:nvSpPr>
        <dsp:cNvPr id="0" name=""/>
        <dsp:cNvSpPr/>
      </dsp:nvSpPr>
      <dsp:spPr>
        <a:xfrm>
          <a:off x="0" y="335046"/>
          <a:ext cx="11144474" cy="1466325"/>
        </a:xfrm>
        <a:prstGeom prst="rect">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4935" tIns="395732" rIns="864935" bIns="135128" numCol="1" spcCol="1270" anchor="t" anchorCtr="0">
          <a:noAutofit/>
        </a:bodyPr>
        <a:lstStyle/>
        <a:p>
          <a:pPr marL="171450" lvl="1" indent="-171450" algn="l" defTabSz="844550">
            <a:lnSpc>
              <a:spcPct val="90000"/>
            </a:lnSpc>
            <a:spcBef>
              <a:spcPct val="0"/>
            </a:spcBef>
            <a:spcAft>
              <a:spcPct val="15000"/>
            </a:spcAft>
            <a:buChar char="•"/>
          </a:pPr>
          <a:r>
            <a:rPr lang="en-US" sz="1900" kern="1200" dirty="0">
              <a:latin typeface="+mn-lt"/>
            </a:rPr>
            <a:t>Parameter-sniffing problem refers to a scenario where a </a:t>
          </a:r>
          <a:r>
            <a:rPr lang="en-US" sz="1900" b="1" kern="1200" dirty="0">
              <a:latin typeface="+mn-lt"/>
            </a:rPr>
            <a:t>single</a:t>
          </a:r>
          <a:r>
            <a:rPr lang="en-US" sz="1900" kern="1200" dirty="0">
              <a:latin typeface="+mn-lt"/>
            </a:rPr>
            <a:t> cached plan for a parameterized query is </a:t>
          </a:r>
          <a:r>
            <a:rPr lang="en-US" sz="1900" b="1" kern="1200" dirty="0">
              <a:latin typeface="+mn-lt"/>
            </a:rPr>
            <a:t>not optimal for all </a:t>
          </a:r>
          <a:r>
            <a:rPr lang="en-US" sz="1900" kern="1200" dirty="0">
              <a:latin typeface="+mn-lt"/>
            </a:rPr>
            <a:t>possible input parameter values</a:t>
          </a:r>
          <a:endParaRPr lang="en-US" sz="1900" b="0" kern="1200" dirty="0"/>
        </a:p>
        <a:p>
          <a:pPr marL="171450" lvl="1" indent="-171450" algn="l" defTabSz="844550">
            <a:lnSpc>
              <a:spcPct val="90000"/>
            </a:lnSpc>
            <a:spcBef>
              <a:spcPct val="0"/>
            </a:spcBef>
            <a:spcAft>
              <a:spcPct val="15000"/>
            </a:spcAft>
            <a:buChar char="•"/>
          </a:pPr>
          <a:r>
            <a:rPr lang="en-US" sz="1900" kern="1200" dirty="0">
              <a:latin typeface="+mn-lt"/>
            </a:rPr>
            <a:t>If plan is not representative of most executions, you have a perceived “bad plan”</a:t>
          </a:r>
          <a:endParaRPr lang="en-US" sz="1900" b="0" kern="1200" dirty="0"/>
        </a:p>
      </dsp:txBody>
      <dsp:txXfrm>
        <a:off x="0" y="335046"/>
        <a:ext cx="11144474" cy="1466325"/>
      </dsp:txXfrm>
    </dsp:sp>
    <dsp:sp modelId="{09DF4224-3D80-47D7-B2BA-0A0BBC33BA22}">
      <dsp:nvSpPr>
        <dsp:cNvPr id="0" name=""/>
        <dsp:cNvSpPr/>
      </dsp:nvSpPr>
      <dsp:spPr>
        <a:xfrm>
          <a:off x="557223" y="54606"/>
          <a:ext cx="7801131" cy="56088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44550">
            <a:lnSpc>
              <a:spcPct val="90000"/>
            </a:lnSpc>
            <a:spcBef>
              <a:spcPct val="0"/>
            </a:spcBef>
            <a:spcAft>
              <a:spcPct val="35000"/>
            </a:spcAft>
            <a:buNone/>
          </a:pPr>
          <a:r>
            <a:rPr lang="en-US" sz="1900" b="1" kern="1200" dirty="0"/>
            <a:t>Parameter Sensitive Plans Today</a:t>
          </a:r>
        </a:p>
      </dsp:txBody>
      <dsp:txXfrm>
        <a:off x="584603" y="81986"/>
        <a:ext cx="7746371" cy="506120"/>
      </dsp:txXfrm>
    </dsp:sp>
    <dsp:sp modelId="{1738A5E9-7294-453F-BC26-FB76949CBB6D}">
      <dsp:nvSpPr>
        <dsp:cNvPr id="0" name=""/>
        <dsp:cNvSpPr/>
      </dsp:nvSpPr>
      <dsp:spPr>
        <a:xfrm>
          <a:off x="0" y="2184411"/>
          <a:ext cx="11144474" cy="3231900"/>
        </a:xfrm>
        <a:prstGeom prst="rect">
          <a:avLst/>
        </a:prstGeom>
        <a:solidFill>
          <a:schemeClr val="lt1">
            <a:alpha val="90000"/>
            <a:hueOff val="0"/>
            <a:satOff val="0"/>
            <a:lumOff val="0"/>
            <a:alphaOff val="0"/>
          </a:schemeClr>
        </a:solidFill>
        <a:ln w="25400" cap="flat" cmpd="sng" algn="ctr">
          <a:solidFill>
            <a:schemeClr val="accent4">
              <a:hueOff val="69884"/>
              <a:satOff val="-18686"/>
              <a:lumOff val="-1215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4935" tIns="395732" rIns="864935" bIns="135128" numCol="1" spcCol="1270" anchor="t" anchorCtr="0">
          <a:noAutofit/>
        </a:bodyPr>
        <a:lstStyle/>
        <a:p>
          <a:pPr marL="171450" lvl="1" indent="-171450" algn="l" defTabSz="844550">
            <a:lnSpc>
              <a:spcPct val="90000"/>
            </a:lnSpc>
            <a:spcBef>
              <a:spcPct val="0"/>
            </a:spcBef>
            <a:spcAft>
              <a:spcPct val="15000"/>
            </a:spcAft>
            <a:buChar char="•"/>
          </a:pPr>
          <a:r>
            <a:rPr lang="en-US" sz="1900" kern="1200"/>
            <a:t>RECOMPILE</a:t>
          </a:r>
          <a:endParaRPr lang="en-US" sz="1900" kern="1200" dirty="0"/>
        </a:p>
        <a:p>
          <a:pPr marL="171450" lvl="1" indent="-171450" algn="l" defTabSz="844550">
            <a:lnSpc>
              <a:spcPct val="90000"/>
            </a:lnSpc>
            <a:spcBef>
              <a:spcPct val="0"/>
            </a:spcBef>
            <a:spcAft>
              <a:spcPct val="15000"/>
            </a:spcAft>
            <a:buChar char="•"/>
          </a:pPr>
          <a:r>
            <a:rPr lang="en-US" sz="1900" kern="1200"/>
            <a:t>OPTION (OPTIMIZE FOR…)</a:t>
          </a:r>
        </a:p>
        <a:p>
          <a:pPr marL="171450" lvl="1" indent="-171450" algn="l" defTabSz="844550">
            <a:lnSpc>
              <a:spcPct val="90000"/>
            </a:lnSpc>
            <a:spcBef>
              <a:spcPct val="0"/>
            </a:spcBef>
            <a:spcAft>
              <a:spcPct val="15000"/>
            </a:spcAft>
            <a:buChar char="•"/>
          </a:pPr>
          <a:r>
            <a:rPr lang="en-US" sz="1900" kern="1200" dirty="0"/>
            <a:t>OPTION (OPTIMIZE FOR UNKNOWN)</a:t>
          </a:r>
        </a:p>
        <a:p>
          <a:pPr marL="171450" lvl="1" indent="-171450" algn="l" defTabSz="844550">
            <a:lnSpc>
              <a:spcPct val="90000"/>
            </a:lnSpc>
            <a:spcBef>
              <a:spcPct val="0"/>
            </a:spcBef>
            <a:spcAft>
              <a:spcPct val="15000"/>
            </a:spcAft>
            <a:buChar char="•"/>
          </a:pPr>
          <a:r>
            <a:rPr lang="en-US" sz="1900" kern="1200" dirty="0"/>
            <a:t>Disable parameter sniffing entirely </a:t>
          </a:r>
        </a:p>
        <a:p>
          <a:pPr marL="171450" lvl="1" indent="-171450" algn="l" defTabSz="844550">
            <a:lnSpc>
              <a:spcPct val="90000"/>
            </a:lnSpc>
            <a:spcBef>
              <a:spcPct val="0"/>
            </a:spcBef>
            <a:spcAft>
              <a:spcPct val="15000"/>
            </a:spcAft>
            <a:buChar char="•"/>
          </a:pPr>
          <a:r>
            <a:rPr lang="en-US" sz="1900" kern="1200" dirty="0"/>
            <a:t>KEEPFIXEDPLAN</a:t>
          </a:r>
        </a:p>
        <a:p>
          <a:pPr marL="171450" lvl="1" indent="-171450" algn="l" defTabSz="844550">
            <a:lnSpc>
              <a:spcPct val="90000"/>
            </a:lnSpc>
            <a:spcBef>
              <a:spcPct val="0"/>
            </a:spcBef>
            <a:spcAft>
              <a:spcPct val="15000"/>
            </a:spcAft>
            <a:buChar char="•"/>
          </a:pPr>
          <a:r>
            <a:rPr lang="en-US" sz="1900" kern="1200"/>
            <a:t>Force a known plan</a:t>
          </a:r>
        </a:p>
        <a:p>
          <a:pPr marL="171450" lvl="1" indent="-171450" algn="l" defTabSz="844550">
            <a:lnSpc>
              <a:spcPct val="90000"/>
            </a:lnSpc>
            <a:spcBef>
              <a:spcPct val="0"/>
            </a:spcBef>
            <a:spcAft>
              <a:spcPct val="15000"/>
            </a:spcAft>
            <a:buChar char="•"/>
          </a:pPr>
          <a:r>
            <a:rPr lang="en-US" sz="1900" kern="1200" dirty="0"/>
            <a:t>Nested procedures</a:t>
          </a:r>
        </a:p>
        <a:p>
          <a:pPr marL="171450" lvl="1" indent="-171450" algn="l" defTabSz="844550">
            <a:lnSpc>
              <a:spcPct val="90000"/>
            </a:lnSpc>
            <a:spcBef>
              <a:spcPct val="0"/>
            </a:spcBef>
            <a:spcAft>
              <a:spcPct val="15000"/>
            </a:spcAft>
            <a:buChar char="•"/>
          </a:pPr>
          <a:r>
            <a:rPr lang="en-US" sz="1900" kern="1200" dirty="0"/>
            <a:t>Dynamic string execution</a:t>
          </a:r>
        </a:p>
      </dsp:txBody>
      <dsp:txXfrm>
        <a:off x="0" y="2184411"/>
        <a:ext cx="11144474" cy="3231900"/>
      </dsp:txXfrm>
    </dsp:sp>
    <dsp:sp modelId="{8EDC92CE-1AB4-4FAD-8EB9-3304E9FB1C42}">
      <dsp:nvSpPr>
        <dsp:cNvPr id="0" name=""/>
        <dsp:cNvSpPr/>
      </dsp:nvSpPr>
      <dsp:spPr>
        <a:xfrm>
          <a:off x="557223" y="1903971"/>
          <a:ext cx="7801131" cy="560880"/>
        </a:xfrm>
        <a:prstGeom prst="roundRect">
          <a:avLst/>
        </a:prstGeom>
        <a:solidFill>
          <a:schemeClr val="accent4">
            <a:hueOff val="69884"/>
            <a:satOff val="-18686"/>
            <a:lumOff val="-121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44550">
            <a:lnSpc>
              <a:spcPct val="90000"/>
            </a:lnSpc>
            <a:spcBef>
              <a:spcPct val="0"/>
            </a:spcBef>
            <a:spcAft>
              <a:spcPct val="35000"/>
            </a:spcAft>
            <a:buNone/>
          </a:pPr>
          <a:r>
            <a:rPr lang="en-US" sz="1900" b="1" kern="1200" dirty="0"/>
            <a:t>Current Workarounds</a:t>
          </a:r>
        </a:p>
      </dsp:txBody>
      <dsp:txXfrm>
        <a:off x="584603" y="1931351"/>
        <a:ext cx="7746371" cy="50612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1DAC2B-1B5F-419C-B21B-B191A9A5DF1E}">
      <dsp:nvSpPr>
        <dsp:cNvPr id="0" name=""/>
        <dsp:cNvSpPr/>
      </dsp:nvSpPr>
      <dsp:spPr>
        <a:xfrm>
          <a:off x="0" y="4337"/>
          <a:ext cx="4715107" cy="86112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New compile on Agent 4</a:t>
          </a:r>
        </a:p>
      </dsp:txBody>
      <dsp:txXfrm>
        <a:off x="42036" y="46373"/>
        <a:ext cx="4631035" cy="777048"/>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7.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8.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9.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0.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BA6064-FDE0-48E8-9405-22609F48ED19}" type="datetimeFigureOut">
              <a:rPr lang="en-US" smtClean="0"/>
              <a:t>7/2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E97690-D681-4B47-8FD4-7300C9E579A2}" type="slidenum">
              <a:rPr lang="en-US" smtClean="0"/>
              <a:t>‹#›</a:t>
            </a:fld>
            <a:endParaRPr lang="en-US"/>
          </a:p>
        </p:txBody>
      </p:sp>
    </p:spTree>
    <p:extLst>
      <p:ext uri="{BB962C8B-B14F-4D97-AF65-F5344CB8AC3E}">
        <p14:creationId xmlns:p14="http://schemas.microsoft.com/office/powerpoint/2010/main" val="2462315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5.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547306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Using cached plan for Agent 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New compile on Agent 2</a:t>
            </a:r>
          </a:p>
          <a:p>
            <a:endParaRPr lang="en-US" dirty="0"/>
          </a:p>
        </p:txBody>
      </p:sp>
      <p:sp>
        <p:nvSpPr>
          <p:cNvPr id="4" name="Slide Number Placeholder 3"/>
          <p:cNvSpPr>
            <a:spLocks noGrp="1"/>
          </p:cNvSpPr>
          <p:nvPr>
            <p:ph type="sldNum" sz="quarter" idx="5"/>
          </p:nvPr>
        </p:nvSpPr>
        <p:spPr/>
        <p:txBody>
          <a:bodyPr/>
          <a:lstStyle/>
          <a:p>
            <a:fld id="{56E97690-D681-4B47-8FD4-7300C9E579A2}" type="slidenum">
              <a:rPr lang="en-US" smtClean="0"/>
              <a:t>12</a:t>
            </a:fld>
            <a:endParaRPr lang="en-US"/>
          </a:p>
        </p:txBody>
      </p:sp>
    </p:spTree>
    <p:extLst>
      <p:ext uri="{BB962C8B-B14F-4D97-AF65-F5344CB8AC3E}">
        <p14:creationId xmlns:p14="http://schemas.microsoft.com/office/powerpoint/2010/main" val="5748823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2705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92529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C9D1D9"/>
                </a:solidFill>
                <a:effectLst/>
                <a:latin typeface="-apple-system"/>
              </a:rPr>
              <a:t>PSP optimization implementation</a:t>
            </a:r>
          </a:p>
          <a:p>
            <a:pPr algn="l"/>
            <a:r>
              <a:rPr lang="en-US" b="0" i="0" dirty="0">
                <a:solidFill>
                  <a:srgbClr val="C9D1D9"/>
                </a:solidFill>
                <a:effectLst/>
                <a:latin typeface="-apple-system"/>
              </a:rPr>
              <a:t>During the initial compilation, column statistics histograms will be used to identify non-uniform distributions and “at risk” predicates, up to three out of all available predicates.</a:t>
            </a:r>
          </a:p>
          <a:p>
            <a:pPr algn="l"/>
            <a:endParaRPr lang="en-US" b="0" i="0" dirty="0">
              <a:solidFill>
                <a:srgbClr val="C9D1D9"/>
              </a:solidFill>
              <a:effectLst/>
              <a:latin typeface="-apple-system"/>
            </a:endParaRPr>
          </a:p>
          <a:p>
            <a:pPr algn="l"/>
            <a:r>
              <a:rPr lang="en-US" b="0" i="0" dirty="0">
                <a:solidFill>
                  <a:srgbClr val="C9D1D9"/>
                </a:solidFill>
                <a:effectLst/>
                <a:latin typeface="-apple-system"/>
              </a:rPr>
              <a:t>For eligible plans, the initial compilation produces a </a:t>
            </a:r>
            <a:r>
              <a:rPr lang="en-US" b="1" i="0" dirty="0">
                <a:solidFill>
                  <a:srgbClr val="C9D1D9"/>
                </a:solidFill>
                <a:effectLst/>
                <a:latin typeface="-apple-system"/>
              </a:rPr>
              <a:t>dispatcher plan</a:t>
            </a:r>
            <a:r>
              <a:rPr lang="en-US" b="0" i="0" dirty="0">
                <a:solidFill>
                  <a:srgbClr val="C9D1D9"/>
                </a:solidFill>
                <a:effectLst/>
                <a:latin typeface="-apple-system"/>
              </a:rPr>
              <a:t> that contains the </a:t>
            </a:r>
            <a:r>
              <a:rPr lang="en-US" dirty="0"/>
              <a:t>Parameter Sensitivity Plan </a:t>
            </a:r>
            <a:r>
              <a:rPr lang="en-US" b="0" i="0" dirty="0">
                <a:solidFill>
                  <a:srgbClr val="C9D1D9"/>
                </a:solidFill>
                <a:effectLst/>
                <a:latin typeface="-apple-system"/>
              </a:rPr>
              <a:t>optimization logic called a </a:t>
            </a:r>
            <a:r>
              <a:rPr lang="en-US" b="0" i="0" u="sng" dirty="0">
                <a:solidFill>
                  <a:srgbClr val="C9D1D9"/>
                </a:solidFill>
                <a:effectLst/>
                <a:latin typeface="-apple-system"/>
              </a:rPr>
              <a:t>dispatcher expression</a:t>
            </a:r>
            <a:r>
              <a:rPr lang="en-US" b="0" i="0" dirty="0">
                <a:solidFill>
                  <a:srgbClr val="C9D1D9"/>
                </a:solidFill>
                <a:effectLst/>
                <a:latin typeface="-apple-system"/>
              </a:rPr>
              <a:t>. A dispatcher plan maps to </a:t>
            </a:r>
            <a:r>
              <a:rPr lang="en-US" b="1" i="0" dirty="0">
                <a:solidFill>
                  <a:srgbClr val="C9D1D9"/>
                </a:solidFill>
                <a:effectLst/>
                <a:latin typeface="-apple-system"/>
              </a:rPr>
              <a:t>query variants</a:t>
            </a:r>
            <a:r>
              <a:rPr lang="en-US" b="0" i="0" dirty="0">
                <a:solidFill>
                  <a:srgbClr val="C9D1D9"/>
                </a:solidFill>
                <a:effectLst/>
                <a:latin typeface="-apple-system"/>
              </a:rPr>
              <a:t> based on the predicates cardinality range boundary values.</a:t>
            </a:r>
          </a:p>
          <a:p>
            <a:pPr algn="l"/>
            <a:endParaRPr lang="en-US" b="0" i="0" dirty="0">
              <a:solidFill>
                <a:srgbClr val="C9D1D9"/>
              </a:solidFill>
              <a:effectLst/>
              <a:latin typeface="-apple-system"/>
            </a:endParaRPr>
          </a:p>
          <a:p>
            <a:pPr algn="l"/>
            <a:r>
              <a:rPr lang="en-US" b="0" i="0" dirty="0">
                <a:solidFill>
                  <a:srgbClr val="C9D1D9"/>
                </a:solidFill>
                <a:effectLst/>
                <a:latin typeface="-apple-system"/>
              </a:rPr>
              <a:t>For each predicate that is chosen, the Query Processor will bucketize them into predicate cardinality ranges based on the runtime cardinality, as seen here.</a:t>
            </a:r>
          </a:p>
          <a:p>
            <a:pPr algn="l"/>
            <a:endParaRPr lang="en-US" b="0" i="0" dirty="0">
              <a:solidFill>
                <a:srgbClr val="C9D1D9"/>
              </a:solidFill>
              <a:effectLst/>
              <a:latin typeface="-apple-system"/>
            </a:endParaRPr>
          </a:p>
          <a:p>
            <a:pPr algn="l"/>
            <a:r>
              <a:rPr lang="en-US" b="0" i="0" dirty="0">
                <a:solidFill>
                  <a:srgbClr val="C9D1D9"/>
                </a:solidFill>
                <a:effectLst/>
                <a:latin typeface="-apple-system"/>
              </a:rPr>
              <a:t>Dispatcher plans are automatically rebuilt if there are significant data distribution changes. Query variant plans will independently recompile as needed, the same as any other query plan type and subject to default recompilation events. </a:t>
            </a:r>
          </a:p>
          <a:p>
            <a:pPr marL="0" indent="0">
              <a:buNone/>
            </a:pPr>
            <a:endParaRPr lang="en-US" dirty="0"/>
          </a:p>
          <a:p>
            <a:pPr marL="0" indent="0">
              <a:buNone/>
            </a:pPr>
            <a:r>
              <a:rPr lang="en-US" dirty="0"/>
              <a:t>For each predicate chosen, we will bucketize them into predicate cardinality ranges based on the runtime cardinality. </a:t>
            </a:r>
          </a:p>
          <a:p>
            <a:pPr marL="0" indent="0">
              <a:buNone/>
            </a:pPr>
            <a:endParaRPr lang="en-US" dirty="0"/>
          </a:p>
          <a:p>
            <a:pPr marL="0" indent="0">
              <a:buNone/>
            </a:pPr>
            <a:r>
              <a:rPr lang="en-US" b="1" dirty="0"/>
              <a:t>Other Key Points</a:t>
            </a:r>
          </a:p>
          <a:p>
            <a:pPr marL="171450" lvl="0" indent="-171450">
              <a:buFont typeface="Arial" panose="020B0604020202020204" pitchFamily="34" charset="0"/>
              <a:buChar char="•"/>
            </a:pPr>
            <a:r>
              <a:rPr lang="en-US" dirty="0"/>
              <a:t>Query variants will have the same </a:t>
            </a:r>
            <a:r>
              <a:rPr lang="en-US" b="1" dirty="0"/>
              <a:t>query hash value </a:t>
            </a:r>
            <a:r>
              <a:rPr lang="en-US" dirty="0"/>
              <a:t>so customers can still determine the </a:t>
            </a:r>
            <a:r>
              <a:rPr lang="en-US" b="1" dirty="0"/>
              <a:t>aggregate resource usage </a:t>
            </a:r>
            <a:r>
              <a:rPr lang="en-US" dirty="0"/>
              <a:t>for queries that differ only by input values</a:t>
            </a:r>
          </a:p>
          <a:p>
            <a:pPr marL="171450" lvl="0" indent="-171450">
              <a:buFont typeface="Arial" panose="020B0604020202020204" pitchFamily="34" charset="0"/>
              <a:buChar char="•"/>
            </a:pPr>
            <a:r>
              <a:rPr lang="en-US" dirty="0"/>
              <a:t>Plans for a query variant in the same dispatcher will independently recompile as needed, the same way as is without the feature</a:t>
            </a:r>
          </a:p>
          <a:p>
            <a:pPr marL="171450" indent="-171450">
              <a:buFont typeface="Arial" panose="020B0604020202020204" pitchFamily="34" charset="0"/>
              <a:buChar char="•"/>
            </a:pPr>
            <a:r>
              <a:rPr lang="en-US" dirty="0"/>
              <a:t>It is important to note that these plan variants are NOT pre-generated and there are a maximum of 200 plans in Query Store, with 27 plans in cache (up to 3 predicates </a:t>
            </a:r>
            <a:r>
              <a:rPr lang="en-US" dirty="0" err="1"/>
              <a:t>pwr</a:t>
            </a:r>
            <a:r>
              <a:rPr lang="en-US" dirty="0"/>
              <a:t> 3).</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42769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84133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259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30138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7153" lvl="1" indent="0">
              <a:buNone/>
            </a:pPr>
            <a:endParaRPr lang="en-US" sz="2800"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80E2B-B978-4B3B-B24B-28D259BA0D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27965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6/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CA"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6/2022 9:06 A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11431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7906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84466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57957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58178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14914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78832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49841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6.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16.emf"/></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1516877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3975115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9562971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629700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426233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3703815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318614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730078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978237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55259825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5613689"/>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B7899E10-A5AD-4F10-B12D-0B5A23C4BFEA}"/>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6809331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82739820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981309868"/>
      </p:ext>
    </p:extLst>
  </p:cSld>
  <p:clrMapOvr>
    <a:masterClrMapping/>
  </p:clrMapOvr>
  <p:transition>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46677409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76033654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86450754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01361129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84050125"/>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63446089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705552483"/>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86069872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4BAEA856-D6E1-42A4-9356-6BE13B26CF23}" type="datetimeFigureOut">
              <a:rPr lang="en-US" smtClean="0">
                <a:solidFill>
                  <a:prstClr val="black">
                    <a:tint val="75000"/>
                  </a:prstClr>
                </a:solidFill>
              </a:rPr>
              <a:pPr/>
              <a:t>7/26/2022</a:t>
            </a:fld>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
        <p:nvSpPr>
          <p:cNvPr id="7" name="Title 5">
            <a:extLst>
              <a:ext uri="{FF2B5EF4-FFF2-40B4-BE49-F238E27FC236}">
                <a16:creationId xmlns:a16="http://schemas.microsoft.com/office/drawing/2014/main" id="{B358B76C-5071-47D4-9FDA-3D4BD8A3AF71}"/>
              </a:ext>
            </a:extLst>
          </p:cNvPr>
          <p:cNvSpPr txBox="1">
            <a:spLocks/>
          </p:cNvSpPr>
          <p:nvPr userDrawn="1"/>
        </p:nvSpPr>
        <p:spPr>
          <a:xfrm>
            <a:off x="269238" y="174885"/>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4400" b="0" i="0" u="none" strike="noStrike" kern="1200" cap="none" spc="0" normalizeH="0" baseline="0">
                <a:ln>
                  <a:noFill/>
                </a:ln>
                <a:solidFill>
                  <a:schemeClr val="accent4">
                    <a:lumMod val="50000"/>
                  </a:schemeClr>
                </a:solidFill>
                <a:effectLst/>
                <a:uLnTx/>
                <a:uFillTx/>
                <a:latin typeface="+mj-lt"/>
                <a:ea typeface="+mj-ea"/>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32082194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70958548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2892250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37656111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91725470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38989947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539996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2693155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07303386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86243076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216999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Tree>
    <p:extLst>
      <p:ext uri="{BB962C8B-B14F-4D97-AF65-F5344CB8AC3E}">
        <p14:creationId xmlns:p14="http://schemas.microsoft.com/office/powerpoint/2010/main" val="35825012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12540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52874070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896036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3283131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3802887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810288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2188840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35523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600">
                <a:solidFill>
                  <a:schemeClr val="tx2"/>
                </a:solidFill>
              </a:defRPr>
            </a:lvl1pPr>
          </a:lstStyle>
          <a:p>
            <a:r>
              <a:rPr lang="en-US"/>
              <a:t>Title</a:t>
            </a:r>
          </a:p>
        </p:txBody>
      </p:sp>
    </p:spTree>
    <p:extLst>
      <p:ext uri="{BB962C8B-B14F-4D97-AF65-F5344CB8AC3E}">
        <p14:creationId xmlns:p14="http://schemas.microsoft.com/office/powerpoint/2010/main" val="137690822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159719502"/>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80496171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217560020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E851B-53DD-42DE-B98F-EF9833BA21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51F285-23AA-4DB8-8E36-C7A353394B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C06130-252F-4873-AC60-0DEC35F31A95}"/>
              </a:ext>
            </a:extLst>
          </p:cNvPr>
          <p:cNvSpPr>
            <a:spLocks noGrp="1"/>
          </p:cNvSpPr>
          <p:nvPr>
            <p:ph type="dt" sz="half" idx="10"/>
          </p:nvPr>
        </p:nvSpPr>
        <p:spPr/>
        <p:txBody>
          <a:bodyPr/>
          <a:lstStyle/>
          <a:p>
            <a:fld id="{A8085009-E053-4CFC-B70B-71D82C275186}" type="datetimeFigureOut">
              <a:rPr lang="en-US" smtClean="0"/>
              <a:t>7/26/2022</a:t>
            </a:fld>
            <a:endParaRPr lang="en-US"/>
          </a:p>
        </p:txBody>
      </p:sp>
      <p:sp>
        <p:nvSpPr>
          <p:cNvPr id="5" name="Footer Placeholder 4">
            <a:extLst>
              <a:ext uri="{FF2B5EF4-FFF2-40B4-BE49-F238E27FC236}">
                <a16:creationId xmlns:a16="http://schemas.microsoft.com/office/drawing/2014/main" id="{5BBA483F-3C5E-46A7-A561-676168E03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77CB13-327A-4D39-9F62-1B27D551CDEC}"/>
              </a:ext>
            </a:extLst>
          </p:cNvPr>
          <p:cNvSpPr>
            <a:spLocks noGrp="1"/>
          </p:cNvSpPr>
          <p:nvPr>
            <p:ph type="sldNum" sz="quarter" idx="12"/>
          </p:nvPr>
        </p:nvSpPr>
        <p:spPr/>
        <p:txBody>
          <a:bodyPr/>
          <a:lstStyle/>
          <a:p>
            <a:fld id="{1A311F4F-3675-466E-9388-734BB41532D3}" type="slidenum">
              <a:rPr lang="en-US" smtClean="0"/>
              <a:t>‹#›</a:t>
            </a:fld>
            <a:endParaRPr lang="en-US"/>
          </a:p>
        </p:txBody>
      </p:sp>
    </p:spTree>
    <p:extLst>
      <p:ext uri="{BB962C8B-B14F-4D97-AF65-F5344CB8AC3E}">
        <p14:creationId xmlns:p14="http://schemas.microsoft.com/office/powerpoint/2010/main" val="404563574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9718466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592213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013765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550370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lank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680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40835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6921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1863172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63939503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136164751"/>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4684372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284075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860690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514020904"/>
      </p:ext>
    </p:extLst>
  </p:cSld>
  <p:clrMapOvr>
    <a:masterClrMapping/>
  </p:clrMapOvr>
  <p:hf sldNum="0" hdr="0" ftr="0" dt="0"/>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776189315"/>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461445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909834759"/>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2" y="3962402"/>
            <a:ext cx="5943600" cy="307777"/>
          </a:xfrm>
          <a:noFill/>
        </p:spPr>
        <p:txBody>
          <a:bodyPr wrap="square" lIns="0" tIns="0" rIns="0" bIns="0">
            <a:spAutoFit/>
          </a:bodyPr>
          <a:lstStyle>
            <a:lvl1pPr marL="0" indent="0">
              <a:spcBef>
                <a:spcPts val="0"/>
              </a:spcBef>
              <a:buNone/>
              <a:defRPr sz="19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8" y="585790"/>
            <a:ext cx="2691631" cy="276999"/>
          </a:xfrm>
          <a:solidFill>
            <a:srgbClr val="E6E6E6">
              <a:alpha val="75000"/>
            </a:srgbClr>
          </a:solidFill>
        </p:spPr>
        <p:txBody>
          <a:bodyPr/>
          <a:lstStyle>
            <a:lvl1pPr marL="0" marR="0" indent="0" algn="r" defTabSz="93208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799"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321572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1916"/>
          </a:xfrm>
        </p:spPr>
        <p:txBody>
          <a:bodyPr wrap="square">
            <a:spAutoFit/>
          </a:bodyPr>
          <a:lstStyle>
            <a:lvl1pPr marL="0" indent="0">
              <a:buNone/>
              <a:defRPr/>
            </a:lvl1pPr>
            <a:lvl2pPr marL="228440" indent="0">
              <a:buNone/>
              <a:defRPr/>
            </a:lvl2pPr>
            <a:lvl3pPr marL="456880" indent="0">
              <a:buNone/>
              <a:defRPr/>
            </a:lvl3pPr>
            <a:lvl4pPr marL="685320" indent="0">
              <a:buNone/>
              <a:defRPr/>
            </a:lvl4pPr>
            <a:lvl5pPr marL="91376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66653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C72D31-A613-4575-8C30-1B5C8526389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461A2B3-F991-45BD-8BA7-FA0CE24140A3}"/>
              </a:ext>
            </a:extLst>
          </p:cNvPr>
          <p:cNvSpPr>
            <a:spLocks noGrp="1"/>
          </p:cNvSpPr>
          <p:nvPr>
            <p:ph type="body" sz="quarter" idx="10"/>
          </p:nvPr>
        </p:nvSpPr>
        <p:spPr>
          <a:xfrm>
            <a:off x="588263" y="1044575"/>
            <a:ext cx="11018520" cy="307777"/>
          </a:xfrm>
        </p:spPr>
        <p:txBody>
          <a:bodyPr wrap="square" lIns="0" tIns="0" rIns="0" bIns="0">
            <a:spAutoFit/>
          </a:bodyPr>
          <a:lstStyle>
            <a:lvl1pPr marL="0" indent="0">
              <a:buNone/>
              <a:defRPr lang="en-US" sz="2000" dirty="0" smtClean="0">
                <a:solidFill>
                  <a:schemeClr val="accent1"/>
                </a:solidFill>
                <a:latin typeface="+mj-lt"/>
                <a:cs typeface="+mn-cs"/>
              </a:defRPr>
            </a:lvl1pPr>
          </a:lstStyle>
          <a:p>
            <a:pPr marL="0" lvl="0" defTabSz="914367"/>
            <a:r>
              <a:rPr lang="en-US"/>
              <a:t>Click to edit Master text styles</a:t>
            </a:r>
          </a:p>
        </p:txBody>
      </p:sp>
    </p:spTree>
    <p:extLst>
      <p:ext uri="{BB962C8B-B14F-4D97-AF65-F5344CB8AC3E}">
        <p14:creationId xmlns:p14="http://schemas.microsoft.com/office/powerpoint/2010/main" val="208901904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spcBef>
                <a:spcPts val="1199"/>
              </a:spcBef>
              <a:defRPr/>
            </a:lvl1pPr>
          </a:lstStyle>
          <a:p>
            <a:r>
              <a:rPr lang="en-US"/>
              <a:t>Click to edit Master title style</a:t>
            </a:r>
          </a:p>
        </p:txBody>
      </p:sp>
      <p:sp>
        <p:nvSpPr>
          <p:cNvPr id="3" name="Text Placeholder 2"/>
          <p:cNvSpPr>
            <a:spLocks noGrp="1"/>
          </p:cNvSpPr>
          <p:nvPr>
            <p:ph type="body" sz="quarter" idx="10"/>
          </p:nvPr>
        </p:nvSpPr>
        <p:spPr>
          <a:xfrm>
            <a:off x="584201" y="1435499"/>
            <a:ext cx="11018520" cy="1519903"/>
          </a:xfrm>
        </p:spPr>
        <p:txBody>
          <a:bodyPr/>
          <a:lstStyle>
            <a:lvl1pPr>
              <a:spcBef>
                <a:spcPts val="999"/>
              </a:spcBef>
              <a:defRPr sz="2200">
                <a:latin typeface="+mn-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05028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798" b="0">
                <a:latin typeface="Segoe UI Semilight" panose="020B0402040204020203" pitchFamily="34" charset="0"/>
                <a:cs typeface="Segoe UI Semilight" panose="020B0402040204020203" pitchFamily="34" charset="0"/>
              </a:defRPr>
            </a:lvl1pPr>
            <a:lvl2pPr marL="255409" indent="0">
              <a:buFont typeface="Wingdings" panose="05000000000000000000" pitchFamily="2" charset="2"/>
              <a:buNone/>
              <a:defRPr sz="1999" b="0"/>
            </a:lvl2pPr>
            <a:lvl3pPr marL="450534" indent="0">
              <a:buFont typeface="Wingdings" panose="05000000000000000000" pitchFamily="2" charset="2"/>
              <a:buNone/>
              <a:tabLst/>
              <a:defRPr sz="1599" b="0"/>
            </a:lvl3pPr>
            <a:lvl4pPr marL="652005" indent="0">
              <a:buFont typeface="Wingdings" panose="05000000000000000000" pitchFamily="2" charset="2"/>
              <a:buNone/>
              <a:defRPr sz="1399" b="0"/>
            </a:lvl4pPr>
            <a:lvl5pPr marL="853477" indent="0">
              <a:buFont typeface="Wingdings" panose="05000000000000000000" pitchFamily="2" charset="2"/>
              <a:buNone/>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798" b="0">
                <a:latin typeface="Segoe UI Semilight" panose="020B0402040204020203" pitchFamily="34" charset="0"/>
                <a:cs typeface="Segoe UI Semilight" panose="020B0402040204020203" pitchFamily="34" charset="0"/>
              </a:defRPr>
            </a:lvl1pPr>
            <a:lvl2pPr marL="255409" indent="0">
              <a:buFont typeface="Wingdings" panose="05000000000000000000" pitchFamily="2" charset="2"/>
              <a:buNone/>
              <a:defRPr sz="1999" b="0"/>
            </a:lvl2pPr>
            <a:lvl3pPr marL="450534" indent="0">
              <a:buFont typeface="Wingdings" panose="05000000000000000000" pitchFamily="2" charset="2"/>
              <a:buNone/>
              <a:tabLst/>
              <a:defRPr sz="1599" b="0"/>
            </a:lvl3pPr>
            <a:lvl4pPr marL="652005" indent="0">
              <a:buFont typeface="Wingdings" panose="05000000000000000000" pitchFamily="2" charset="2"/>
              <a:buNone/>
              <a:defRPr sz="1399" b="0"/>
            </a:lvl4pPr>
            <a:lvl5pPr marL="853477" indent="0">
              <a:buFont typeface="Wingdings" panose="05000000000000000000" pitchFamily="2" charset="2"/>
              <a:buNone/>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2118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1" y="1437481"/>
            <a:ext cx="5212080" cy="1649682"/>
          </a:xfrm>
        </p:spPr>
        <p:txBody>
          <a:bodyPr wrap="square">
            <a:spAutoFit/>
          </a:bodyPr>
          <a:lstStyle>
            <a:lvl1pPr marL="231613" indent="-231613">
              <a:spcBef>
                <a:spcPts val="1223"/>
              </a:spcBef>
              <a:buClr>
                <a:schemeClr val="tx1"/>
              </a:buClr>
              <a:buFont typeface="Wingdings" panose="05000000000000000000" pitchFamily="2" charset="2"/>
              <a:buChar char=""/>
              <a:defRPr sz="2798" b="0">
                <a:latin typeface="Segoe UI Semilight" panose="020B0402040204020203" pitchFamily="34" charset="0"/>
                <a:cs typeface="Segoe UI Semilight" panose="020B0402040204020203" pitchFamily="34" charset="0"/>
              </a:defRPr>
            </a:lvl1pPr>
            <a:lvl2pPr marL="426739" indent="-171330">
              <a:buFont typeface="Wingdings" panose="05000000000000000000" pitchFamily="2" charset="2"/>
              <a:buChar char=""/>
              <a:defRPr sz="1999" b="0"/>
            </a:lvl2pPr>
            <a:lvl3pPr marL="639315" indent="-188781">
              <a:buFont typeface="Wingdings" panose="05000000000000000000" pitchFamily="2" charset="2"/>
              <a:buChar char=""/>
              <a:tabLst/>
              <a:defRPr sz="1599" b="0"/>
            </a:lvl3pPr>
            <a:lvl4pPr marL="828095" indent="-176090">
              <a:buFont typeface="Wingdings" panose="05000000000000000000" pitchFamily="2" charset="2"/>
              <a:buChar char=""/>
              <a:defRPr sz="1399" b="0"/>
            </a:lvl4pPr>
            <a:lvl5pPr marL="1023221" indent="-169744">
              <a:buFont typeface="Wingdings" panose="05000000000000000000" pitchFamily="2" charset="2"/>
              <a:buChar char=""/>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613" indent="-231613">
              <a:spcBef>
                <a:spcPts val="1223"/>
              </a:spcBef>
              <a:buClr>
                <a:schemeClr val="tx1"/>
              </a:buClr>
              <a:buFont typeface="Wingdings" panose="05000000000000000000" pitchFamily="2" charset="2"/>
              <a:buChar char=""/>
              <a:defRPr sz="2798" b="0">
                <a:latin typeface="Segoe UI Semilight" panose="020B0402040204020203" pitchFamily="34" charset="0"/>
                <a:cs typeface="Segoe UI Semilight" panose="020B0402040204020203" pitchFamily="34" charset="0"/>
              </a:defRPr>
            </a:lvl1pPr>
            <a:lvl2pPr marL="426739" indent="-171330">
              <a:buFont typeface="Wingdings" panose="05000000000000000000" pitchFamily="2" charset="2"/>
              <a:buChar char=""/>
              <a:defRPr sz="1999" b="0"/>
            </a:lvl2pPr>
            <a:lvl3pPr marL="639315" indent="-188781">
              <a:buFont typeface="Wingdings" panose="05000000000000000000" pitchFamily="2" charset="2"/>
              <a:buChar char=""/>
              <a:tabLst/>
              <a:defRPr sz="1599" b="0"/>
            </a:lvl3pPr>
            <a:lvl4pPr marL="828095" indent="-176090">
              <a:buFont typeface="Wingdings" panose="05000000000000000000" pitchFamily="2" charset="2"/>
              <a:buChar char=""/>
              <a:defRPr sz="1399" b="0"/>
            </a:lvl4pPr>
            <a:lvl5pPr marL="1023221" indent="-169744">
              <a:buFont typeface="Wingdings" panose="05000000000000000000" pitchFamily="2" charset="2"/>
              <a:buChar char=""/>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17927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435118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4355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894225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1999"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36506083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2457455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3329390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1637"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631280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8263" y="2271760"/>
            <a:ext cx="4896264" cy="1157240"/>
          </a:xfrm>
        </p:spPr>
        <p:txBody>
          <a:bodyPr wrap="square">
            <a:spAutoFit/>
          </a:bodyPr>
          <a:lstStyle>
            <a:lvl1pPr marL="0" indent="0">
              <a:lnSpc>
                <a:spcPct val="110000"/>
              </a:lnSpc>
              <a:spcBef>
                <a:spcPts val="1800"/>
              </a:spcBef>
              <a:buFont typeface="Arial" panose="020B0604020202020204" pitchFamily="34" charset="0"/>
              <a:buNone/>
              <a:defRPr sz="1600">
                <a:latin typeface="+mn-lt"/>
              </a:defRPr>
            </a:lvl1pPr>
            <a:lvl2pPr marL="228600" indent="0">
              <a:buFont typeface="Arial" panose="020B0604020202020204" pitchFamily="34" charset="0"/>
              <a:buNone/>
              <a:defRPr sz="1400"/>
            </a:lvl2pPr>
            <a:lvl3pPr marL="457200" indent="0">
              <a:buFont typeface="Arial" panose="020B0604020202020204" pitchFamily="34" charset="0"/>
              <a:buNone/>
              <a:defRPr sz="1100"/>
            </a:lvl3pPr>
            <a:lvl4pPr marL="685800" indent="0">
              <a:buFont typeface="Arial" panose="020B0604020202020204" pitchFamily="34" charset="0"/>
              <a:buNone/>
              <a:defRPr sz="1050"/>
            </a:lvl4pPr>
            <a:lvl5pPr marL="914400" indent="0">
              <a:buFont typeface="Arial" panose="020B0604020202020204" pitchFamily="34" charset="0"/>
              <a:buNone/>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5EBC9C4-692B-4264-85A6-FAA30AA09ECB}"/>
              </a:ext>
            </a:extLst>
          </p:cNvPr>
          <p:cNvSpPr>
            <a:spLocks noGrp="1"/>
          </p:cNvSpPr>
          <p:nvPr>
            <p:ph type="title"/>
          </p:nvPr>
        </p:nvSpPr>
        <p:spPr>
          <a:xfrm>
            <a:off x="588263" y="457200"/>
            <a:ext cx="4896264" cy="984885"/>
          </a:xfrm>
        </p:spPr>
        <p:txBody>
          <a:bodyPr>
            <a:spAutoFit/>
          </a:bodyPr>
          <a:lstStyle>
            <a:lvl1pPr>
              <a:defRPr sz="3200"/>
            </a:lvl1pPr>
          </a:lstStyle>
          <a:p>
            <a:r>
              <a:rPr lang="en-US"/>
              <a:t>Click to edit Master title style</a:t>
            </a:r>
          </a:p>
        </p:txBody>
      </p:sp>
    </p:spTree>
    <p:extLst>
      <p:ext uri="{BB962C8B-B14F-4D97-AF65-F5344CB8AC3E}">
        <p14:creationId xmlns:p14="http://schemas.microsoft.com/office/powerpoint/2010/main" val="3099670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2" y="1435100"/>
            <a:ext cx="11018838" cy="16119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2" y="-203944"/>
            <a:ext cx="577457" cy="153760"/>
          </a:xfrm>
          <a:prstGeom prst="rect">
            <a:avLst/>
          </a:prstGeom>
          <a:noFill/>
        </p:spPr>
        <p:txBody>
          <a:bodyPr wrap="none" lIns="0" tIns="0" rIns="0" bIns="0" rtlCol="0">
            <a:spAutoFit/>
          </a:bodyPr>
          <a:lstStyle/>
          <a:p>
            <a:pPr algn="l"/>
            <a:r>
              <a:rPr lang="en-US" sz="999">
                <a:solidFill>
                  <a:srgbClr val="A3A3A3"/>
                </a:solidFill>
              </a:rPr>
              <a:t>ELT layout</a:t>
            </a:r>
          </a:p>
        </p:txBody>
      </p:sp>
    </p:spTree>
    <p:extLst>
      <p:ext uri="{BB962C8B-B14F-4D97-AF65-F5344CB8AC3E}">
        <p14:creationId xmlns:p14="http://schemas.microsoft.com/office/powerpoint/2010/main" val="25450115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47855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80" name="Group 79">
            <a:extLst>
              <a:ext uri="{FF2B5EF4-FFF2-40B4-BE49-F238E27FC236}">
                <a16:creationId xmlns:a16="http://schemas.microsoft.com/office/drawing/2014/main" id="{521145ED-15B2-4878-88BA-BD52A6B7015F}"/>
              </a:ext>
            </a:extLst>
          </p:cNvPr>
          <p:cNvGrpSpPr/>
          <p:nvPr userDrawn="1"/>
        </p:nvGrpSpPr>
        <p:grpSpPr bwMode="ltGray">
          <a:xfrm>
            <a:off x="6256117" y="-21839"/>
            <a:ext cx="5932086" cy="6890047"/>
            <a:chOff x="6256117" y="-21839"/>
            <a:chExt cx="5932086" cy="6890047"/>
          </a:xfrm>
        </p:grpSpPr>
        <p:grpSp>
          <p:nvGrpSpPr>
            <p:cNvPr id="81" name="Group 80">
              <a:extLst>
                <a:ext uri="{FF2B5EF4-FFF2-40B4-BE49-F238E27FC236}">
                  <a16:creationId xmlns:a16="http://schemas.microsoft.com/office/drawing/2014/main" id="{6B6377E8-C20D-47BA-992C-78572A997980}"/>
                </a:ext>
              </a:extLst>
            </p:cNvPr>
            <p:cNvGrpSpPr/>
            <p:nvPr userDrawn="1"/>
          </p:nvGrpSpPr>
          <p:grpSpPr bwMode="ltGray">
            <a:xfrm>
              <a:off x="8507413" y="1457714"/>
              <a:ext cx="3680790" cy="5392441"/>
              <a:chOff x="8507413" y="1457714"/>
              <a:chExt cx="3680790" cy="5392441"/>
            </a:xfrm>
          </p:grpSpPr>
          <p:sp>
            <p:nvSpPr>
              <p:cNvPr id="90" name="Freeform: Shape 89">
                <a:extLst>
                  <a:ext uri="{FF2B5EF4-FFF2-40B4-BE49-F238E27FC236}">
                    <a16:creationId xmlns:a16="http://schemas.microsoft.com/office/drawing/2014/main" id="{3F341476-B728-4E0A-B2F8-6224A7A594D0}"/>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1" name="Freeform: Shape 90">
                <a:extLst>
                  <a:ext uri="{FF2B5EF4-FFF2-40B4-BE49-F238E27FC236}">
                    <a16:creationId xmlns:a16="http://schemas.microsoft.com/office/drawing/2014/main" id="{655D239E-00C3-427B-ADA7-1AC583BA2BFE}"/>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2" name="Freeform: Shape 91">
                <a:extLst>
                  <a:ext uri="{FF2B5EF4-FFF2-40B4-BE49-F238E27FC236}">
                    <a16:creationId xmlns:a16="http://schemas.microsoft.com/office/drawing/2014/main" id="{1932C6DD-9BF9-412C-B311-475A636BF050}"/>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3" name="Freeform: Shape 92">
                <a:extLst>
                  <a:ext uri="{FF2B5EF4-FFF2-40B4-BE49-F238E27FC236}">
                    <a16:creationId xmlns:a16="http://schemas.microsoft.com/office/drawing/2014/main" id="{FE1BBB77-4896-49FA-A7BB-E6425636C87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4" name="Freeform: Shape 93">
                <a:extLst>
                  <a:ext uri="{FF2B5EF4-FFF2-40B4-BE49-F238E27FC236}">
                    <a16:creationId xmlns:a16="http://schemas.microsoft.com/office/drawing/2014/main" id="{C15D4A7F-5951-43E0-B784-91AE08065FE2}"/>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5" name="Freeform: Shape 94">
                <a:extLst>
                  <a:ext uri="{FF2B5EF4-FFF2-40B4-BE49-F238E27FC236}">
                    <a16:creationId xmlns:a16="http://schemas.microsoft.com/office/drawing/2014/main" id="{A4506F70-FD55-4537-9265-9582326DB16F}"/>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6" name="Freeform: Shape 95">
                <a:extLst>
                  <a:ext uri="{FF2B5EF4-FFF2-40B4-BE49-F238E27FC236}">
                    <a16:creationId xmlns:a16="http://schemas.microsoft.com/office/drawing/2014/main" id="{B25C9439-322A-40A0-82D0-F9CDDFF9993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7" name="Freeform: Shape 96">
                <a:extLst>
                  <a:ext uri="{FF2B5EF4-FFF2-40B4-BE49-F238E27FC236}">
                    <a16:creationId xmlns:a16="http://schemas.microsoft.com/office/drawing/2014/main" id="{CB076121-8E6C-4E2C-A02D-B783C6A1FE4D}"/>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8" name="Freeform: Shape 97">
                <a:extLst>
                  <a:ext uri="{FF2B5EF4-FFF2-40B4-BE49-F238E27FC236}">
                    <a16:creationId xmlns:a16="http://schemas.microsoft.com/office/drawing/2014/main" id="{6C982970-DD23-4E38-BCF5-8584D6373C41}"/>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9" name="Freeform: Shape 98">
                <a:extLst>
                  <a:ext uri="{FF2B5EF4-FFF2-40B4-BE49-F238E27FC236}">
                    <a16:creationId xmlns:a16="http://schemas.microsoft.com/office/drawing/2014/main" id="{24A84652-31EB-4B12-A7F6-9AF3F288AA24}"/>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0" name="Freeform: Shape 99">
                <a:extLst>
                  <a:ext uri="{FF2B5EF4-FFF2-40B4-BE49-F238E27FC236}">
                    <a16:creationId xmlns:a16="http://schemas.microsoft.com/office/drawing/2014/main" id="{9FD19A90-52A2-49B2-97D6-CB49D9C5F77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1" name="Freeform: Shape 100">
                <a:extLst>
                  <a:ext uri="{FF2B5EF4-FFF2-40B4-BE49-F238E27FC236}">
                    <a16:creationId xmlns:a16="http://schemas.microsoft.com/office/drawing/2014/main" id="{0BAD7BE1-E615-4471-9A67-34C09C31CEB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2" name="Freeform: Shape 101">
                <a:extLst>
                  <a:ext uri="{FF2B5EF4-FFF2-40B4-BE49-F238E27FC236}">
                    <a16:creationId xmlns:a16="http://schemas.microsoft.com/office/drawing/2014/main" id="{4F4EED83-41A8-49F9-9FBC-CC742F5858D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3" name="Freeform: Shape 102">
                <a:extLst>
                  <a:ext uri="{FF2B5EF4-FFF2-40B4-BE49-F238E27FC236}">
                    <a16:creationId xmlns:a16="http://schemas.microsoft.com/office/drawing/2014/main" id="{AE3D32E2-E4E9-424E-9F48-CB015D973F08}"/>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4" name="Freeform: Shape 103">
                <a:extLst>
                  <a:ext uri="{FF2B5EF4-FFF2-40B4-BE49-F238E27FC236}">
                    <a16:creationId xmlns:a16="http://schemas.microsoft.com/office/drawing/2014/main" id="{64AD9ECB-18F6-4638-9690-D62A6BEEF137}"/>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5" name="Freeform: Shape 104">
                <a:extLst>
                  <a:ext uri="{FF2B5EF4-FFF2-40B4-BE49-F238E27FC236}">
                    <a16:creationId xmlns:a16="http://schemas.microsoft.com/office/drawing/2014/main" id="{DFC4E747-6DA2-4173-A258-108C6BF7426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106" name="Straight Connector 105">
                <a:extLst>
                  <a:ext uri="{FF2B5EF4-FFF2-40B4-BE49-F238E27FC236}">
                    <a16:creationId xmlns:a16="http://schemas.microsoft.com/office/drawing/2014/main" id="{70F8EBB4-FE90-49B7-B59F-9D92659ABE93}"/>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2" name="Group 81">
              <a:extLst>
                <a:ext uri="{FF2B5EF4-FFF2-40B4-BE49-F238E27FC236}">
                  <a16:creationId xmlns:a16="http://schemas.microsoft.com/office/drawing/2014/main" id="{50F4A27F-4A04-436E-8826-90A82D706196}"/>
                </a:ext>
              </a:extLst>
            </p:cNvPr>
            <p:cNvGrpSpPr/>
            <p:nvPr userDrawn="1"/>
          </p:nvGrpSpPr>
          <p:grpSpPr bwMode="ltGray">
            <a:xfrm>
              <a:off x="7545167" y="-21839"/>
              <a:ext cx="1192433" cy="1098538"/>
              <a:chOff x="7545167" y="-9139"/>
              <a:chExt cx="1192433" cy="1098538"/>
            </a:xfrm>
          </p:grpSpPr>
          <p:sp>
            <p:nvSpPr>
              <p:cNvPr id="87" name="Freeform: Shape 86">
                <a:extLst>
                  <a:ext uri="{FF2B5EF4-FFF2-40B4-BE49-F238E27FC236}">
                    <a16:creationId xmlns:a16="http://schemas.microsoft.com/office/drawing/2014/main" id="{40E99431-397E-4CAB-8F7A-B2793EA36CAF}"/>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88" name="Freeform: Shape 87">
                <a:extLst>
                  <a:ext uri="{FF2B5EF4-FFF2-40B4-BE49-F238E27FC236}">
                    <a16:creationId xmlns:a16="http://schemas.microsoft.com/office/drawing/2014/main" id="{3DADE91B-55F9-4E86-B564-9784884412F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89" name="Freeform: Shape 88">
                <a:extLst>
                  <a:ext uri="{FF2B5EF4-FFF2-40B4-BE49-F238E27FC236}">
                    <a16:creationId xmlns:a16="http://schemas.microsoft.com/office/drawing/2014/main" id="{362FFDBE-61F4-4756-8B99-A38C509DACFD}"/>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83" name="Group 82">
              <a:extLst>
                <a:ext uri="{FF2B5EF4-FFF2-40B4-BE49-F238E27FC236}">
                  <a16:creationId xmlns:a16="http://schemas.microsoft.com/office/drawing/2014/main" id="{58D93CCD-027F-4CB1-9548-08F5DC9D53BC}"/>
                </a:ext>
              </a:extLst>
            </p:cNvPr>
            <p:cNvGrpSpPr/>
            <p:nvPr userDrawn="1"/>
          </p:nvGrpSpPr>
          <p:grpSpPr bwMode="ltGray">
            <a:xfrm>
              <a:off x="6256117" y="5896894"/>
              <a:ext cx="1057910" cy="971314"/>
              <a:chOff x="6256117" y="5896894"/>
              <a:chExt cx="1057910" cy="971314"/>
            </a:xfrm>
          </p:grpSpPr>
          <p:sp>
            <p:nvSpPr>
              <p:cNvPr id="84" name="Freeform: Shape 83">
                <a:extLst>
                  <a:ext uri="{FF2B5EF4-FFF2-40B4-BE49-F238E27FC236}">
                    <a16:creationId xmlns:a16="http://schemas.microsoft.com/office/drawing/2014/main" id="{5227E026-EC75-48A9-8BA2-8CB8AEFE3EF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85" name="Freeform: Shape 84">
                <a:extLst>
                  <a:ext uri="{FF2B5EF4-FFF2-40B4-BE49-F238E27FC236}">
                    <a16:creationId xmlns:a16="http://schemas.microsoft.com/office/drawing/2014/main" id="{05985668-D276-4809-8F42-9F2553DAF160}"/>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86" name="Freeform: Shape 85">
                <a:extLst>
                  <a:ext uri="{FF2B5EF4-FFF2-40B4-BE49-F238E27FC236}">
                    <a16:creationId xmlns:a16="http://schemas.microsoft.com/office/drawing/2014/main" id="{42A7E057-3EAA-4D8A-AFA1-50921E4240E2}"/>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3525752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80" name="Group 79">
            <a:extLst>
              <a:ext uri="{FF2B5EF4-FFF2-40B4-BE49-F238E27FC236}">
                <a16:creationId xmlns:a16="http://schemas.microsoft.com/office/drawing/2014/main" id="{600A898A-C854-4786-87E7-C485F6912A2F}"/>
              </a:ext>
            </a:extLst>
          </p:cNvPr>
          <p:cNvGrpSpPr/>
          <p:nvPr userDrawn="1"/>
        </p:nvGrpSpPr>
        <p:grpSpPr bwMode="ltGray">
          <a:xfrm>
            <a:off x="6256117" y="-21839"/>
            <a:ext cx="5932086" cy="6890047"/>
            <a:chOff x="6256117" y="-21839"/>
            <a:chExt cx="5932086" cy="6890047"/>
          </a:xfrm>
        </p:grpSpPr>
        <p:grpSp>
          <p:nvGrpSpPr>
            <p:cNvPr id="81" name="Group 80">
              <a:extLst>
                <a:ext uri="{FF2B5EF4-FFF2-40B4-BE49-F238E27FC236}">
                  <a16:creationId xmlns:a16="http://schemas.microsoft.com/office/drawing/2014/main" id="{8D9CA146-06AE-4C41-BBB5-FFE4635CBDE6}"/>
                </a:ext>
              </a:extLst>
            </p:cNvPr>
            <p:cNvGrpSpPr/>
            <p:nvPr userDrawn="1"/>
          </p:nvGrpSpPr>
          <p:grpSpPr bwMode="ltGray">
            <a:xfrm>
              <a:off x="8507413" y="1457714"/>
              <a:ext cx="3680790" cy="5392441"/>
              <a:chOff x="8507413" y="1457714"/>
              <a:chExt cx="3680790" cy="5392441"/>
            </a:xfrm>
          </p:grpSpPr>
          <p:sp>
            <p:nvSpPr>
              <p:cNvPr id="90" name="Freeform: Shape 89">
                <a:extLst>
                  <a:ext uri="{FF2B5EF4-FFF2-40B4-BE49-F238E27FC236}">
                    <a16:creationId xmlns:a16="http://schemas.microsoft.com/office/drawing/2014/main" id="{BDBA5663-C5B3-4372-B1AA-94A07FBE9FD3}"/>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1" name="Freeform: Shape 90">
                <a:extLst>
                  <a:ext uri="{FF2B5EF4-FFF2-40B4-BE49-F238E27FC236}">
                    <a16:creationId xmlns:a16="http://schemas.microsoft.com/office/drawing/2014/main" id="{868E7265-3D30-408A-9F22-1EB9CA588431}"/>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2" name="Freeform: Shape 91">
                <a:extLst>
                  <a:ext uri="{FF2B5EF4-FFF2-40B4-BE49-F238E27FC236}">
                    <a16:creationId xmlns:a16="http://schemas.microsoft.com/office/drawing/2014/main" id="{B2B4FB48-4C28-4012-879B-0955C5093997}"/>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3" name="Freeform: Shape 92">
                <a:extLst>
                  <a:ext uri="{FF2B5EF4-FFF2-40B4-BE49-F238E27FC236}">
                    <a16:creationId xmlns:a16="http://schemas.microsoft.com/office/drawing/2014/main" id="{22046105-D07D-49DC-B65A-04EB6964352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4" name="Freeform: Shape 93">
                <a:extLst>
                  <a:ext uri="{FF2B5EF4-FFF2-40B4-BE49-F238E27FC236}">
                    <a16:creationId xmlns:a16="http://schemas.microsoft.com/office/drawing/2014/main" id="{2720B2B0-8839-4C92-BBA7-31E7CFE06A44}"/>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5" name="Freeform: Shape 94">
                <a:extLst>
                  <a:ext uri="{FF2B5EF4-FFF2-40B4-BE49-F238E27FC236}">
                    <a16:creationId xmlns:a16="http://schemas.microsoft.com/office/drawing/2014/main" id="{3EAE8122-1D82-45FA-B1B6-98A75212FF00}"/>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6" name="Freeform: Shape 95">
                <a:extLst>
                  <a:ext uri="{FF2B5EF4-FFF2-40B4-BE49-F238E27FC236}">
                    <a16:creationId xmlns:a16="http://schemas.microsoft.com/office/drawing/2014/main" id="{D5BBFB25-A9D6-4664-BF4B-CAC0A64ACD47}"/>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7" name="Freeform: Shape 96">
                <a:extLst>
                  <a:ext uri="{FF2B5EF4-FFF2-40B4-BE49-F238E27FC236}">
                    <a16:creationId xmlns:a16="http://schemas.microsoft.com/office/drawing/2014/main" id="{8E433664-1F69-4F21-AEC1-DDBE9B997B63}"/>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8" name="Freeform: Shape 97">
                <a:extLst>
                  <a:ext uri="{FF2B5EF4-FFF2-40B4-BE49-F238E27FC236}">
                    <a16:creationId xmlns:a16="http://schemas.microsoft.com/office/drawing/2014/main" id="{6B5B76C8-170D-40B3-B2C7-4F18EC517EA9}"/>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9" name="Freeform: Shape 98">
                <a:extLst>
                  <a:ext uri="{FF2B5EF4-FFF2-40B4-BE49-F238E27FC236}">
                    <a16:creationId xmlns:a16="http://schemas.microsoft.com/office/drawing/2014/main" id="{B3A78843-B151-477E-94AD-8DD0245356CE}"/>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0" name="Freeform: Shape 99">
                <a:extLst>
                  <a:ext uri="{FF2B5EF4-FFF2-40B4-BE49-F238E27FC236}">
                    <a16:creationId xmlns:a16="http://schemas.microsoft.com/office/drawing/2014/main" id="{3ED324A3-17D9-40A1-8B6A-18DB8AF36A3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1" name="Freeform: Shape 100">
                <a:extLst>
                  <a:ext uri="{FF2B5EF4-FFF2-40B4-BE49-F238E27FC236}">
                    <a16:creationId xmlns:a16="http://schemas.microsoft.com/office/drawing/2014/main" id="{A7016E04-41DC-4457-920D-65A74AEC96C2}"/>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2" name="Freeform: Shape 101">
                <a:extLst>
                  <a:ext uri="{FF2B5EF4-FFF2-40B4-BE49-F238E27FC236}">
                    <a16:creationId xmlns:a16="http://schemas.microsoft.com/office/drawing/2014/main" id="{13C02578-8557-4556-8330-9346C438C14E}"/>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3" name="Freeform: Shape 102">
                <a:extLst>
                  <a:ext uri="{FF2B5EF4-FFF2-40B4-BE49-F238E27FC236}">
                    <a16:creationId xmlns:a16="http://schemas.microsoft.com/office/drawing/2014/main" id="{08CC9854-5FB6-4E31-B505-F02E31DBA137}"/>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4" name="Freeform: Shape 103">
                <a:extLst>
                  <a:ext uri="{FF2B5EF4-FFF2-40B4-BE49-F238E27FC236}">
                    <a16:creationId xmlns:a16="http://schemas.microsoft.com/office/drawing/2014/main" id="{0D6513E3-39F2-417E-A0B7-F9C2337209F7}"/>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5" name="Freeform: Shape 104">
                <a:extLst>
                  <a:ext uri="{FF2B5EF4-FFF2-40B4-BE49-F238E27FC236}">
                    <a16:creationId xmlns:a16="http://schemas.microsoft.com/office/drawing/2014/main" id="{F2D4F738-2527-4052-9170-50B6058CDB31}"/>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106" name="Straight Connector 105">
                <a:extLst>
                  <a:ext uri="{FF2B5EF4-FFF2-40B4-BE49-F238E27FC236}">
                    <a16:creationId xmlns:a16="http://schemas.microsoft.com/office/drawing/2014/main" id="{383DB303-ED02-4053-8B41-E1664593705D}"/>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2" name="Group 81">
              <a:extLst>
                <a:ext uri="{FF2B5EF4-FFF2-40B4-BE49-F238E27FC236}">
                  <a16:creationId xmlns:a16="http://schemas.microsoft.com/office/drawing/2014/main" id="{913EC4EF-19A3-42CC-9B68-A52C80575F47}"/>
                </a:ext>
              </a:extLst>
            </p:cNvPr>
            <p:cNvGrpSpPr/>
            <p:nvPr userDrawn="1"/>
          </p:nvGrpSpPr>
          <p:grpSpPr bwMode="ltGray">
            <a:xfrm>
              <a:off x="7545167" y="-21839"/>
              <a:ext cx="1192433" cy="1098538"/>
              <a:chOff x="7545167" y="-9139"/>
              <a:chExt cx="1192433" cy="1098538"/>
            </a:xfrm>
          </p:grpSpPr>
          <p:sp>
            <p:nvSpPr>
              <p:cNvPr id="87" name="Freeform: Shape 86">
                <a:extLst>
                  <a:ext uri="{FF2B5EF4-FFF2-40B4-BE49-F238E27FC236}">
                    <a16:creationId xmlns:a16="http://schemas.microsoft.com/office/drawing/2014/main" id="{ECF275BF-1709-4A94-A739-091F1A6A1B2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88" name="Freeform: Shape 87">
                <a:extLst>
                  <a:ext uri="{FF2B5EF4-FFF2-40B4-BE49-F238E27FC236}">
                    <a16:creationId xmlns:a16="http://schemas.microsoft.com/office/drawing/2014/main" id="{5FDFFB25-FCC9-4A93-BCAF-01426DB1A7B7}"/>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89" name="Freeform: Shape 88">
                <a:extLst>
                  <a:ext uri="{FF2B5EF4-FFF2-40B4-BE49-F238E27FC236}">
                    <a16:creationId xmlns:a16="http://schemas.microsoft.com/office/drawing/2014/main" id="{748D1CD3-1BF6-4754-A9A8-C17F6D904D1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83" name="Group 82">
              <a:extLst>
                <a:ext uri="{FF2B5EF4-FFF2-40B4-BE49-F238E27FC236}">
                  <a16:creationId xmlns:a16="http://schemas.microsoft.com/office/drawing/2014/main" id="{7B0426A5-EFEF-4075-AC25-7B15753656E0}"/>
                </a:ext>
              </a:extLst>
            </p:cNvPr>
            <p:cNvGrpSpPr/>
            <p:nvPr userDrawn="1"/>
          </p:nvGrpSpPr>
          <p:grpSpPr bwMode="ltGray">
            <a:xfrm>
              <a:off x="6256117" y="5896894"/>
              <a:ext cx="1057910" cy="971314"/>
              <a:chOff x="6256117" y="5896894"/>
              <a:chExt cx="1057910" cy="971314"/>
            </a:xfrm>
          </p:grpSpPr>
          <p:sp>
            <p:nvSpPr>
              <p:cNvPr id="84" name="Freeform: Shape 83">
                <a:extLst>
                  <a:ext uri="{FF2B5EF4-FFF2-40B4-BE49-F238E27FC236}">
                    <a16:creationId xmlns:a16="http://schemas.microsoft.com/office/drawing/2014/main" id="{E679E4B1-D087-4329-9579-6909339E21B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85" name="Freeform: Shape 84">
                <a:extLst>
                  <a:ext uri="{FF2B5EF4-FFF2-40B4-BE49-F238E27FC236}">
                    <a16:creationId xmlns:a16="http://schemas.microsoft.com/office/drawing/2014/main" id="{995C04D1-E711-4872-A970-5806EA02D63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86" name="Freeform: Shape 85">
                <a:extLst>
                  <a:ext uri="{FF2B5EF4-FFF2-40B4-BE49-F238E27FC236}">
                    <a16:creationId xmlns:a16="http://schemas.microsoft.com/office/drawing/2014/main" id="{D02ABF35-737F-478A-BB70-178397F692ED}"/>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3788917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217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9" Type="http://schemas.openxmlformats.org/officeDocument/2006/relationships/slideLayout" Target="../slideLayouts/slideLayout49.xml"/><Relationship Id="rId21" Type="http://schemas.openxmlformats.org/officeDocument/2006/relationships/slideLayout" Target="../slideLayouts/slideLayout31.xml"/><Relationship Id="rId34" Type="http://schemas.openxmlformats.org/officeDocument/2006/relationships/slideLayout" Target="../slideLayouts/slideLayout44.xml"/><Relationship Id="rId42" Type="http://schemas.openxmlformats.org/officeDocument/2006/relationships/slideLayout" Target="../slideLayouts/slideLayout52.xml"/><Relationship Id="rId47" Type="http://schemas.openxmlformats.org/officeDocument/2006/relationships/slideLayout" Target="../slideLayouts/slideLayout57.xml"/><Relationship Id="rId50" Type="http://schemas.openxmlformats.org/officeDocument/2006/relationships/theme" Target="../theme/theme2.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9" Type="http://schemas.openxmlformats.org/officeDocument/2006/relationships/slideLayout" Target="../slideLayouts/slideLayout39.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slideLayout" Target="../slideLayouts/slideLayout42.xml"/><Relationship Id="rId37" Type="http://schemas.openxmlformats.org/officeDocument/2006/relationships/slideLayout" Target="../slideLayouts/slideLayout47.xml"/><Relationship Id="rId40" Type="http://schemas.openxmlformats.org/officeDocument/2006/relationships/slideLayout" Target="../slideLayouts/slideLayout50.xml"/><Relationship Id="rId45" Type="http://schemas.openxmlformats.org/officeDocument/2006/relationships/slideLayout" Target="../slideLayouts/slideLayout55.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36" Type="http://schemas.openxmlformats.org/officeDocument/2006/relationships/slideLayout" Target="../slideLayouts/slideLayout46.xml"/><Relationship Id="rId49" Type="http://schemas.openxmlformats.org/officeDocument/2006/relationships/slideLayout" Target="../slideLayouts/slideLayout59.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slideLayout" Target="../slideLayouts/slideLayout41.xml"/><Relationship Id="rId44" Type="http://schemas.openxmlformats.org/officeDocument/2006/relationships/slideLayout" Target="../slideLayouts/slideLayout54.xml"/><Relationship Id="rId52" Type="http://schemas.openxmlformats.org/officeDocument/2006/relationships/image" Target="../media/image3.png"/><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 Id="rId35" Type="http://schemas.openxmlformats.org/officeDocument/2006/relationships/slideLayout" Target="../slideLayouts/slideLayout45.xml"/><Relationship Id="rId43" Type="http://schemas.openxmlformats.org/officeDocument/2006/relationships/slideLayout" Target="../slideLayouts/slideLayout53.xml"/><Relationship Id="rId48" Type="http://schemas.openxmlformats.org/officeDocument/2006/relationships/slideLayout" Target="../slideLayouts/slideLayout58.xml"/><Relationship Id="rId8" Type="http://schemas.openxmlformats.org/officeDocument/2006/relationships/slideLayout" Target="../slideLayouts/slideLayout18.xml"/><Relationship Id="rId51" Type="http://schemas.openxmlformats.org/officeDocument/2006/relationships/image" Target="../media/image2.emf"/><Relationship Id="rId3" Type="http://schemas.openxmlformats.org/officeDocument/2006/relationships/slideLayout" Target="../slideLayouts/slideLayout13.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slideLayout" Target="../slideLayouts/slideLayout43.xml"/><Relationship Id="rId38" Type="http://schemas.openxmlformats.org/officeDocument/2006/relationships/slideLayout" Target="../slideLayouts/slideLayout48.xml"/><Relationship Id="rId46" Type="http://schemas.openxmlformats.org/officeDocument/2006/relationships/slideLayout" Target="../slideLayouts/slideLayout56.xml"/><Relationship Id="rId20" Type="http://schemas.openxmlformats.org/officeDocument/2006/relationships/slideLayout" Target="../slideLayouts/slideLayout30.xml"/><Relationship Id="rId41" Type="http://schemas.openxmlformats.org/officeDocument/2006/relationships/slideLayout" Target="../slideLayouts/slideLayout51.xml"/><Relationship Id="rId1" Type="http://schemas.openxmlformats.org/officeDocument/2006/relationships/slideLayout" Target="../slideLayouts/slideLayout11.xml"/><Relationship Id="rId6"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7.emf"/><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64.xml"/><Relationship Id="rId7" Type="http://schemas.openxmlformats.org/officeDocument/2006/relationships/theme" Target="../theme/theme4.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5" Type="http://schemas.openxmlformats.org/officeDocument/2006/relationships/slideLayout" Target="../slideLayouts/slideLayout66.xml"/><Relationship Id="rId4" Type="http://schemas.openxmlformats.org/officeDocument/2006/relationships/slideLayout" Target="../slideLayouts/slideLayout65.xml"/><Relationship Id="rId9"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image" Target="../media/image18.emf"/><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theme" Target="../theme/theme5.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2"/>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7" name="Rectangle 6">
            <a:extLst>
              <a:ext uri="{FF2B5EF4-FFF2-40B4-BE49-F238E27FC236}">
                <a16:creationId xmlns:a16="http://schemas.microsoft.com/office/drawing/2014/main" id="{86B374D5-5744-4147-B311-13B6E1E8798F}"/>
              </a:ext>
            </a:extLst>
          </p:cNvPr>
          <p:cNvSpPr/>
          <p:nvPr userDrawn="1"/>
        </p:nvSpPr>
        <p:spPr>
          <a:xfrm>
            <a:off x="18149" y="6531751"/>
            <a:ext cx="5542142" cy="307777"/>
          </a:xfrm>
          <a:prstGeom prst="rect">
            <a:avLst/>
          </a:prstGeom>
          <a:noFill/>
          <a:ln>
            <a:noFill/>
          </a:ln>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0160">
                  <a:solidFill>
                    <a:schemeClr val="accent4">
                      <a:lumMod val="75000"/>
                    </a:schemeClr>
                  </a:solidFill>
                  <a:prstDash val="solid"/>
                </a:ln>
                <a:solidFill>
                  <a:schemeClr val="bg1"/>
                </a:solidFill>
                <a:effectLst>
                  <a:outerShdw blurRad="38100" dist="22860" dir="5400000" algn="tl" rotWithShape="0">
                    <a:srgbClr val="000000">
                      <a:alpha val="30000"/>
                    </a:srgbClr>
                  </a:outerShdw>
                </a:effectLst>
                <a:uLnTx/>
                <a:uFillTx/>
                <a:latin typeface="Segoe UI"/>
                <a:ea typeface="+mn-ea"/>
                <a:cs typeface="+mn-cs"/>
              </a:rPr>
              <a:t>Intelligent Query Processing</a:t>
            </a:r>
          </a:p>
        </p:txBody>
      </p:sp>
    </p:spTree>
    <p:extLst>
      <p:ext uri="{BB962C8B-B14F-4D97-AF65-F5344CB8AC3E}">
        <p14:creationId xmlns:p14="http://schemas.microsoft.com/office/powerpoint/2010/main" val="296159685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798" r:id="rId5"/>
    <p:sldLayoutId id="2147484870" r:id="rId6"/>
    <p:sldLayoutId id="2147484871" r:id="rId7"/>
    <p:sldLayoutId id="2147484872" r:id="rId8"/>
    <p:sldLayoutId id="2147484873" r:id="rId9"/>
    <p:sldLayoutId id="2147484934" r:id="rId10"/>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52123196"/>
      </p:ext>
    </p:extLst>
  </p:cSld>
  <p:clrMap bg1="lt1" tx1="dk1" bg2="lt2" tx2="dk2" accent1="accent1" accent2="accent2" accent3="accent3" accent4="accent4" accent5="accent5" accent6="accent6" hlink="hlink" folHlink="folHlink"/>
  <p:sldLayoutIdLst>
    <p:sldLayoutId id="2147484875" r:id="rId1"/>
    <p:sldLayoutId id="2147484876" r:id="rId2"/>
    <p:sldLayoutId id="2147484877" r:id="rId3"/>
    <p:sldLayoutId id="2147484878" r:id="rId4"/>
    <p:sldLayoutId id="2147484879" r:id="rId5"/>
    <p:sldLayoutId id="2147484880" r:id="rId6"/>
    <p:sldLayoutId id="2147484881" r:id="rId7"/>
    <p:sldLayoutId id="2147484882" r:id="rId8"/>
    <p:sldLayoutId id="2147484883" r:id="rId9"/>
    <p:sldLayoutId id="2147484884" r:id="rId10"/>
    <p:sldLayoutId id="2147484885" r:id="rId11"/>
    <p:sldLayoutId id="2147484886" r:id="rId12"/>
    <p:sldLayoutId id="2147484887" r:id="rId13"/>
    <p:sldLayoutId id="2147484888" r:id="rId14"/>
    <p:sldLayoutId id="2147484889" r:id="rId15"/>
    <p:sldLayoutId id="2147484890" r:id="rId16"/>
    <p:sldLayoutId id="2147484891" r:id="rId17"/>
    <p:sldLayoutId id="2147484892" r:id="rId18"/>
    <p:sldLayoutId id="2147484893" r:id="rId19"/>
    <p:sldLayoutId id="2147484894" r:id="rId20"/>
    <p:sldLayoutId id="2147484895" r:id="rId21"/>
    <p:sldLayoutId id="2147484896" r:id="rId22"/>
    <p:sldLayoutId id="2147484897" r:id="rId23"/>
    <p:sldLayoutId id="2147484898" r:id="rId24"/>
    <p:sldLayoutId id="2147484899" r:id="rId25"/>
    <p:sldLayoutId id="2147484900" r:id="rId26"/>
    <p:sldLayoutId id="2147484901" r:id="rId27"/>
    <p:sldLayoutId id="2147484902" r:id="rId28"/>
    <p:sldLayoutId id="2147484903" r:id="rId29"/>
    <p:sldLayoutId id="2147484904" r:id="rId30"/>
    <p:sldLayoutId id="2147484905" r:id="rId31"/>
    <p:sldLayoutId id="2147484906" r:id="rId32"/>
    <p:sldLayoutId id="2147484907" r:id="rId33"/>
    <p:sldLayoutId id="2147484908" r:id="rId34"/>
    <p:sldLayoutId id="2147484909" r:id="rId35"/>
    <p:sldLayoutId id="2147484910" r:id="rId36"/>
    <p:sldLayoutId id="2147484911" r:id="rId37"/>
    <p:sldLayoutId id="2147484912" r:id="rId38"/>
    <p:sldLayoutId id="2147484913" r:id="rId39"/>
    <p:sldLayoutId id="2147484914" r:id="rId40"/>
    <p:sldLayoutId id="2147484915" r:id="rId41"/>
    <p:sldLayoutId id="2147484916" r:id="rId42"/>
    <p:sldLayoutId id="2147484917" r:id="rId43"/>
    <p:sldLayoutId id="2147484918" r:id="rId44"/>
    <p:sldLayoutId id="2147484919" r:id="rId45"/>
    <p:sldLayoutId id="2147484920" r:id="rId46"/>
    <p:sldLayoutId id="2147484921" r:id="rId47"/>
    <p:sldLayoutId id="2147484922" r:id="rId48"/>
    <p:sldLayoutId id="2147484923" r:id="rId4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7"/>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0720049"/>
      </p:ext>
    </p:extLst>
  </p:cSld>
  <p:clrMap bg1="lt1" tx1="dk1" bg2="lt2" tx2="dk2" accent1="accent1" accent2="accent2" accent3="accent3" accent4="accent4" accent5="accent5" accent6="accent6" hlink="hlink" folHlink="folHlink"/>
  <p:sldLayoutIdLst>
    <p:sldLayoutId id="2147484925" r:id="rId1"/>
    <p:sldLayoutId id="2147484926" r:id="rId2"/>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398473155"/>
      </p:ext>
    </p:extLst>
  </p:cSld>
  <p:clrMap bg1="lt1" tx1="dk1" bg2="lt2" tx2="dk2" accent1="accent1" accent2="accent2" accent3="accent3" accent4="accent4" accent5="accent5" accent6="accent6" hlink="hlink" folHlink="folHlink"/>
  <p:sldLayoutIdLst>
    <p:sldLayoutId id="2147484928" r:id="rId1"/>
    <p:sldLayoutId id="2147484929" r:id="rId2"/>
    <p:sldLayoutId id="2147484930" r:id="rId3"/>
    <p:sldLayoutId id="2147484931" r:id="rId4"/>
    <p:sldLayoutId id="2147484932" r:id="rId5"/>
    <p:sldLayoutId id="2147484933" r:id="rId6"/>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1"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8">
            <a:extLst>
              <a:ext uri="{28A0092B-C50C-407E-A947-70E740481C1C}">
                <a14:useLocalDpi xmlns:a14="http://schemas.microsoft.com/office/drawing/2010/main"/>
              </a:ext>
            </a:extLst>
          </a:blip>
          <a:stretch>
            <a:fillRect/>
          </a:stretch>
        </p:blipFill>
        <p:spPr>
          <a:xfrm rot="5400000">
            <a:off x="9288988" y="2942645"/>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1" tIns="146209" rIns="182761" bIns="146209" numCol="1" spcCol="0" rtlCol="0" fromWordArt="0" anchor="t" anchorCtr="0" forceAA="0" compatLnSpc="1">
            <a:prstTxWarp prst="textNoShape">
              <a:avLst/>
            </a:prstTxWarp>
            <a:noAutofit/>
          </a:bodyPr>
          <a:lstStyle/>
          <a:p>
            <a:pPr algn="ctr" defTabSz="931819" fontAlgn="base">
              <a:lnSpc>
                <a:spcPct val="90000"/>
              </a:lnSpc>
              <a:spcBef>
                <a:spcPct val="0"/>
              </a:spcBef>
              <a:spcAft>
                <a:spcPct val="0"/>
              </a:spcAft>
            </a:pPr>
            <a:endParaRPr lang="en-US" sz="239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1" tIns="146209" rIns="182761" bIns="146209" numCol="1" spcCol="0" rtlCol="0" fromWordArt="0" anchor="t" anchorCtr="0" forceAA="0" compatLnSpc="1">
            <a:prstTxWarp prst="textNoShape">
              <a:avLst/>
            </a:prstTxWarp>
            <a:noAutofit/>
          </a:bodyPr>
          <a:lstStyle/>
          <a:p>
            <a:pPr algn="ctr" defTabSz="931819" fontAlgn="base">
              <a:lnSpc>
                <a:spcPct val="90000"/>
              </a:lnSpc>
              <a:spcBef>
                <a:spcPct val="0"/>
              </a:spcBef>
              <a:spcAft>
                <a:spcPct val="0"/>
              </a:spcAft>
            </a:pPr>
            <a:endParaRPr lang="en-US" sz="239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7955767"/>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Lst>
  <p:transition>
    <p:fade/>
  </p:transition>
  <p:hf sldNum="0" hdr="0" ftr="0" dt="0"/>
  <p:txStyles>
    <p:titleStyle>
      <a:lvl1pPr algn="l" defTabSz="932089" rtl="0" eaLnBrk="1" latinLnBrk="0" hangingPunct="1">
        <a:lnSpc>
          <a:spcPct val="100000"/>
        </a:lnSpc>
        <a:spcBef>
          <a:spcPct val="0"/>
        </a:spcBef>
        <a:spcAft>
          <a:spcPts val="1199"/>
        </a:spcAft>
        <a:buNone/>
        <a:defRPr lang="en-US" sz="3597"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440" marR="0" indent="-228440"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8"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6880" marR="0" indent="-228440"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2pPr>
      <a:lvl3pPr marL="656765" marR="0" indent="-199885"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99" kern="1200" spc="0" baseline="0">
          <a:gradFill>
            <a:gsLst>
              <a:gs pos="1250">
                <a:schemeClr val="tx1"/>
              </a:gs>
              <a:gs pos="100000">
                <a:schemeClr val="tx1"/>
              </a:gs>
            </a:gsLst>
            <a:lin ang="5400000" scaled="0"/>
          </a:gradFill>
          <a:latin typeface="+mn-lt"/>
          <a:ea typeface="+mn-ea"/>
          <a:cs typeface="+mn-cs"/>
        </a:defRPr>
      </a:lvl3pPr>
      <a:lvl4pPr marL="842373" marR="0" indent="-180848"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9" kern="1200" spc="0" baseline="0">
          <a:gradFill>
            <a:gsLst>
              <a:gs pos="1250">
                <a:schemeClr val="tx1"/>
              </a:gs>
              <a:gs pos="100000">
                <a:schemeClr val="tx1"/>
              </a:gs>
            </a:gsLst>
            <a:lin ang="5400000" scaled="0"/>
          </a:gradFill>
          <a:latin typeface="+mn-lt"/>
          <a:ea typeface="+mn-ea"/>
          <a:cs typeface="+mn-cs"/>
        </a:defRPr>
      </a:lvl4pPr>
      <a:lvl5pPr marL="1023221" marR="0" indent="-168157"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9" kern="1200" spc="0" baseline="0">
          <a:gradFill>
            <a:gsLst>
              <a:gs pos="1250">
                <a:schemeClr val="tx1"/>
              </a:gs>
              <a:gs pos="100000">
                <a:schemeClr val="tx1"/>
              </a:gs>
            </a:gsLst>
            <a:lin ang="5400000" scaled="0"/>
          </a:gradFill>
          <a:latin typeface="+mn-lt"/>
          <a:ea typeface="+mn-ea"/>
          <a:cs typeface="+mn-cs"/>
        </a:defRPr>
      </a:lvl5pPr>
      <a:lvl6pPr marL="2563244" indent="-233023" algn="l" defTabSz="93208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29290" indent="-233023" algn="l" defTabSz="93208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5335" indent="-233023" algn="l" defTabSz="93208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1380" indent="-233023" algn="l" defTabSz="93208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089" rtl="0" eaLnBrk="1" latinLnBrk="0" hangingPunct="1">
        <a:defRPr sz="1799" kern="1200">
          <a:solidFill>
            <a:schemeClr val="tx1"/>
          </a:solidFill>
          <a:latin typeface="+mn-lt"/>
          <a:ea typeface="+mn-ea"/>
          <a:cs typeface="+mn-cs"/>
        </a:defRPr>
      </a:lvl1pPr>
      <a:lvl2pPr marL="466045" algn="l" defTabSz="932089" rtl="0" eaLnBrk="1" latinLnBrk="0" hangingPunct="1">
        <a:defRPr sz="1799" kern="1200">
          <a:solidFill>
            <a:schemeClr val="tx1"/>
          </a:solidFill>
          <a:latin typeface="+mn-lt"/>
          <a:ea typeface="+mn-ea"/>
          <a:cs typeface="+mn-cs"/>
        </a:defRPr>
      </a:lvl2pPr>
      <a:lvl3pPr marL="932089" algn="l" defTabSz="932089" rtl="0" eaLnBrk="1" latinLnBrk="0" hangingPunct="1">
        <a:defRPr sz="1799" kern="1200">
          <a:solidFill>
            <a:schemeClr val="tx1"/>
          </a:solidFill>
          <a:latin typeface="+mn-lt"/>
          <a:ea typeface="+mn-ea"/>
          <a:cs typeface="+mn-cs"/>
        </a:defRPr>
      </a:lvl3pPr>
      <a:lvl4pPr marL="1398134" algn="l" defTabSz="932089" rtl="0" eaLnBrk="1" latinLnBrk="0" hangingPunct="1">
        <a:defRPr sz="1799" kern="1200">
          <a:solidFill>
            <a:schemeClr val="tx1"/>
          </a:solidFill>
          <a:latin typeface="+mn-lt"/>
          <a:ea typeface="+mn-ea"/>
          <a:cs typeface="+mn-cs"/>
        </a:defRPr>
      </a:lvl4pPr>
      <a:lvl5pPr marL="1864178" algn="l" defTabSz="932089" rtl="0" eaLnBrk="1" latinLnBrk="0" hangingPunct="1">
        <a:defRPr sz="1799" kern="1200">
          <a:solidFill>
            <a:schemeClr val="tx1"/>
          </a:solidFill>
          <a:latin typeface="+mn-lt"/>
          <a:ea typeface="+mn-ea"/>
          <a:cs typeface="+mn-cs"/>
        </a:defRPr>
      </a:lvl5pPr>
      <a:lvl6pPr marL="2330224" algn="l" defTabSz="932089" rtl="0" eaLnBrk="1" latinLnBrk="0" hangingPunct="1">
        <a:defRPr sz="1799" kern="1200">
          <a:solidFill>
            <a:schemeClr val="tx1"/>
          </a:solidFill>
          <a:latin typeface="+mn-lt"/>
          <a:ea typeface="+mn-ea"/>
          <a:cs typeface="+mn-cs"/>
        </a:defRPr>
      </a:lvl6pPr>
      <a:lvl7pPr marL="2796267" algn="l" defTabSz="932089" rtl="0" eaLnBrk="1" latinLnBrk="0" hangingPunct="1">
        <a:defRPr sz="1799" kern="1200">
          <a:solidFill>
            <a:schemeClr val="tx1"/>
          </a:solidFill>
          <a:latin typeface="+mn-lt"/>
          <a:ea typeface="+mn-ea"/>
          <a:cs typeface="+mn-cs"/>
        </a:defRPr>
      </a:lvl7pPr>
      <a:lvl8pPr marL="3262312" algn="l" defTabSz="932089" rtl="0" eaLnBrk="1" latinLnBrk="0" hangingPunct="1">
        <a:defRPr sz="1799" kern="1200">
          <a:solidFill>
            <a:schemeClr val="tx1"/>
          </a:solidFill>
          <a:latin typeface="+mn-lt"/>
          <a:ea typeface="+mn-ea"/>
          <a:cs typeface="+mn-cs"/>
        </a:defRPr>
      </a:lvl8pPr>
      <a:lvl9pPr marL="3728357" algn="l" defTabSz="932089"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7.xml"/><Relationship Id="rId13" Type="http://schemas.openxmlformats.org/officeDocument/2006/relationships/diagramData" Target="../diagrams/data8.xml"/><Relationship Id="rId18" Type="http://schemas.openxmlformats.org/officeDocument/2006/relationships/hyperlink" Target="https://docs.microsoft.com/en-us/azure/azure-sql/identify-query-performance-issues#ParamSniffing" TargetMode="External"/><Relationship Id="rId3" Type="http://schemas.openxmlformats.org/officeDocument/2006/relationships/diagramData" Target="../diagrams/data6.xml"/><Relationship Id="rId7" Type="http://schemas.microsoft.com/office/2007/relationships/diagramDrawing" Target="../diagrams/drawing6.xml"/><Relationship Id="rId12" Type="http://schemas.microsoft.com/office/2007/relationships/diagramDrawing" Target="../diagrams/drawing7.xml"/><Relationship Id="rId17" Type="http://schemas.microsoft.com/office/2007/relationships/diagramDrawing" Target="../diagrams/drawing8.xml"/><Relationship Id="rId2" Type="http://schemas.openxmlformats.org/officeDocument/2006/relationships/notesSlide" Target="../notesSlides/notesSlide9.xml"/><Relationship Id="rId16" Type="http://schemas.openxmlformats.org/officeDocument/2006/relationships/diagramColors" Target="../diagrams/colors8.xml"/><Relationship Id="rId20" Type="http://schemas.openxmlformats.org/officeDocument/2006/relationships/image" Target="../media/image30.svg"/><Relationship Id="rId1" Type="http://schemas.openxmlformats.org/officeDocument/2006/relationships/slideLayout" Target="../slideLayouts/slideLayout5.xml"/><Relationship Id="rId6" Type="http://schemas.openxmlformats.org/officeDocument/2006/relationships/diagramColors" Target="../diagrams/colors6.xml"/><Relationship Id="rId11" Type="http://schemas.openxmlformats.org/officeDocument/2006/relationships/diagramColors" Target="../diagrams/colors7.xml"/><Relationship Id="rId5" Type="http://schemas.openxmlformats.org/officeDocument/2006/relationships/diagramQuickStyle" Target="../diagrams/quickStyle6.xml"/><Relationship Id="rId15" Type="http://schemas.openxmlformats.org/officeDocument/2006/relationships/diagramQuickStyle" Target="../diagrams/quickStyle8.xml"/><Relationship Id="rId10" Type="http://schemas.openxmlformats.org/officeDocument/2006/relationships/diagramQuickStyle" Target="../diagrams/quickStyle7.xml"/><Relationship Id="rId19" Type="http://schemas.openxmlformats.org/officeDocument/2006/relationships/image" Target="../media/image29.png"/><Relationship Id="rId4" Type="http://schemas.openxmlformats.org/officeDocument/2006/relationships/diagramLayout" Target="../diagrams/layout6.xml"/><Relationship Id="rId9" Type="http://schemas.openxmlformats.org/officeDocument/2006/relationships/diagramLayout" Target="../diagrams/layout7.xml"/><Relationship Id="rId14" Type="http://schemas.openxmlformats.org/officeDocument/2006/relationships/diagramLayout" Target="../diagrams/layout8.xml"/></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image" Target="../media/image31.png"/><Relationship Id="rId1" Type="http://schemas.openxmlformats.org/officeDocument/2006/relationships/slideLayout" Target="../slideLayouts/slideLayout7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7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3.xml.rels><?xml version="1.0" encoding="UTF-8" standalone="yes"?>
<Relationships xmlns="http://schemas.openxmlformats.org/package/2006/relationships"><Relationship Id="rId8" Type="http://schemas.openxmlformats.org/officeDocument/2006/relationships/diagramData" Target="../diagrams/data11.xml"/><Relationship Id="rId13" Type="http://schemas.openxmlformats.org/officeDocument/2006/relationships/diagramData" Target="../diagrams/data12.xml"/><Relationship Id="rId3" Type="http://schemas.openxmlformats.org/officeDocument/2006/relationships/diagramData" Target="../diagrams/data10.xml"/><Relationship Id="rId7" Type="http://schemas.microsoft.com/office/2007/relationships/diagramDrawing" Target="../diagrams/drawing10.xml"/><Relationship Id="rId12" Type="http://schemas.microsoft.com/office/2007/relationships/diagramDrawing" Target="../diagrams/drawing11.xml"/><Relationship Id="rId17" Type="http://schemas.microsoft.com/office/2007/relationships/diagramDrawing" Target="../diagrams/drawing12.xml"/><Relationship Id="rId2" Type="http://schemas.openxmlformats.org/officeDocument/2006/relationships/notesSlide" Target="../notesSlides/notesSlide11.xml"/><Relationship Id="rId16" Type="http://schemas.openxmlformats.org/officeDocument/2006/relationships/diagramColors" Target="../diagrams/colors12.xml"/><Relationship Id="rId1" Type="http://schemas.openxmlformats.org/officeDocument/2006/relationships/slideLayout" Target="../slideLayouts/slideLayout5.xml"/><Relationship Id="rId6" Type="http://schemas.openxmlformats.org/officeDocument/2006/relationships/diagramColors" Target="../diagrams/colors10.xml"/><Relationship Id="rId11" Type="http://schemas.openxmlformats.org/officeDocument/2006/relationships/diagramColors" Target="../diagrams/colors11.xml"/><Relationship Id="rId5" Type="http://schemas.openxmlformats.org/officeDocument/2006/relationships/diagramQuickStyle" Target="../diagrams/quickStyle10.xml"/><Relationship Id="rId15" Type="http://schemas.openxmlformats.org/officeDocument/2006/relationships/diagramQuickStyle" Target="../diagrams/quickStyle12.xml"/><Relationship Id="rId10" Type="http://schemas.openxmlformats.org/officeDocument/2006/relationships/diagramQuickStyle" Target="../diagrams/quickStyle11.xml"/><Relationship Id="rId4" Type="http://schemas.openxmlformats.org/officeDocument/2006/relationships/diagramLayout" Target="../diagrams/layout10.xml"/><Relationship Id="rId9" Type="http://schemas.openxmlformats.org/officeDocument/2006/relationships/diagramLayout" Target="../diagrams/layout11.xml"/><Relationship Id="rId14" Type="http://schemas.openxmlformats.org/officeDocument/2006/relationships/diagramLayout" Target="../diagrams/layout12.xml"/></Relationships>
</file>

<file path=ppt/slides/_rels/slide14.xml.rels><?xml version="1.0" encoding="UTF-8" standalone="yes"?>
<Relationships xmlns="http://schemas.openxmlformats.org/package/2006/relationships"><Relationship Id="rId8" Type="http://schemas.openxmlformats.org/officeDocument/2006/relationships/diagramData" Target="../diagrams/data14.xml"/><Relationship Id="rId13" Type="http://schemas.openxmlformats.org/officeDocument/2006/relationships/diagramData" Target="../diagrams/data15.xml"/><Relationship Id="rId3" Type="http://schemas.openxmlformats.org/officeDocument/2006/relationships/diagramData" Target="../diagrams/data13.xml"/><Relationship Id="rId7" Type="http://schemas.microsoft.com/office/2007/relationships/diagramDrawing" Target="../diagrams/drawing13.xml"/><Relationship Id="rId12" Type="http://schemas.microsoft.com/office/2007/relationships/diagramDrawing" Target="../diagrams/drawing14.xml"/><Relationship Id="rId17" Type="http://schemas.microsoft.com/office/2007/relationships/diagramDrawing" Target="../diagrams/drawing15.xml"/><Relationship Id="rId2" Type="http://schemas.openxmlformats.org/officeDocument/2006/relationships/notesSlide" Target="../notesSlides/notesSlide12.xml"/><Relationship Id="rId16" Type="http://schemas.openxmlformats.org/officeDocument/2006/relationships/diagramColors" Target="../diagrams/colors15.xml"/><Relationship Id="rId1" Type="http://schemas.openxmlformats.org/officeDocument/2006/relationships/slideLayout" Target="../slideLayouts/slideLayout5.xml"/><Relationship Id="rId6" Type="http://schemas.openxmlformats.org/officeDocument/2006/relationships/diagramColors" Target="../diagrams/colors13.xml"/><Relationship Id="rId11" Type="http://schemas.openxmlformats.org/officeDocument/2006/relationships/diagramColors" Target="../diagrams/colors14.xml"/><Relationship Id="rId5" Type="http://schemas.openxmlformats.org/officeDocument/2006/relationships/diagramQuickStyle" Target="../diagrams/quickStyle13.xml"/><Relationship Id="rId15" Type="http://schemas.openxmlformats.org/officeDocument/2006/relationships/diagramQuickStyle" Target="../diagrams/quickStyle15.xml"/><Relationship Id="rId10" Type="http://schemas.openxmlformats.org/officeDocument/2006/relationships/diagramQuickStyle" Target="../diagrams/quickStyle14.xml"/><Relationship Id="rId4" Type="http://schemas.openxmlformats.org/officeDocument/2006/relationships/diagramLayout" Target="../diagrams/layout13.xml"/><Relationship Id="rId9" Type="http://schemas.openxmlformats.org/officeDocument/2006/relationships/diagramLayout" Target="../diagrams/layout14.xml"/><Relationship Id="rId14" Type="http://schemas.openxmlformats.org/officeDocument/2006/relationships/diagramLayout" Target="../diagrams/layout15.xml"/></Relationships>
</file>

<file path=ppt/slides/_rels/slide15.xml.rels><?xml version="1.0" encoding="UTF-8" standalone="yes"?>
<Relationships xmlns="http://schemas.openxmlformats.org/package/2006/relationships"><Relationship Id="rId8" Type="http://schemas.openxmlformats.org/officeDocument/2006/relationships/diagramData" Target="../diagrams/data17.xml"/><Relationship Id="rId13" Type="http://schemas.openxmlformats.org/officeDocument/2006/relationships/image" Target="../media/image37.png"/><Relationship Id="rId3" Type="http://schemas.openxmlformats.org/officeDocument/2006/relationships/diagramData" Target="../diagrams/data16.xml"/><Relationship Id="rId7" Type="http://schemas.microsoft.com/office/2007/relationships/diagramDrawing" Target="../diagrams/drawing16.xml"/><Relationship Id="rId12" Type="http://schemas.microsoft.com/office/2007/relationships/diagramDrawing" Target="../diagrams/drawing17.xml"/><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diagramColors" Target="../diagrams/colors16.xml"/><Relationship Id="rId11" Type="http://schemas.openxmlformats.org/officeDocument/2006/relationships/diagramColors" Target="../diagrams/colors17.xml"/><Relationship Id="rId5" Type="http://schemas.openxmlformats.org/officeDocument/2006/relationships/diagramQuickStyle" Target="../diagrams/quickStyle16.xml"/><Relationship Id="rId10" Type="http://schemas.openxmlformats.org/officeDocument/2006/relationships/diagramQuickStyle" Target="../diagrams/quickStyle17.xml"/><Relationship Id="rId4" Type="http://schemas.openxmlformats.org/officeDocument/2006/relationships/diagramLayout" Target="../diagrams/layout16.xml"/><Relationship Id="rId9" Type="http://schemas.openxmlformats.org/officeDocument/2006/relationships/diagramLayout" Target="../diagrams/layout17.xml"/></Relationships>
</file>

<file path=ppt/slides/_rels/slide16.xml.rels><?xml version="1.0" encoding="UTF-8" standalone="yes"?>
<Relationships xmlns="http://schemas.openxmlformats.org/package/2006/relationships"><Relationship Id="rId8" Type="http://schemas.openxmlformats.org/officeDocument/2006/relationships/diagramData" Target="../diagrams/data19.xml"/><Relationship Id="rId3" Type="http://schemas.openxmlformats.org/officeDocument/2006/relationships/diagramData" Target="../diagrams/data18.xml"/><Relationship Id="rId7" Type="http://schemas.microsoft.com/office/2007/relationships/diagramDrawing" Target="../diagrams/drawing18.xml"/><Relationship Id="rId12" Type="http://schemas.microsoft.com/office/2007/relationships/diagramDrawing" Target="../diagrams/drawing19.xml"/><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diagramColors" Target="../diagrams/colors18.xml"/><Relationship Id="rId11" Type="http://schemas.openxmlformats.org/officeDocument/2006/relationships/diagramColors" Target="../diagrams/colors19.xml"/><Relationship Id="rId5" Type="http://schemas.openxmlformats.org/officeDocument/2006/relationships/diagramQuickStyle" Target="../diagrams/quickStyle18.xml"/><Relationship Id="rId10" Type="http://schemas.openxmlformats.org/officeDocument/2006/relationships/diagramQuickStyle" Target="../diagrams/quickStyle19.xml"/><Relationship Id="rId4" Type="http://schemas.openxmlformats.org/officeDocument/2006/relationships/diagramLayout" Target="../diagrams/layout18.xml"/><Relationship Id="rId9" Type="http://schemas.openxmlformats.org/officeDocument/2006/relationships/diagramLayout" Target="../diagrams/layout19.xml"/></Relationships>
</file>

<file path=ppt/slides/_rels/slide17.xml.rels><?xml version="1.0" encoding="UTF-8" standalone="yes"?>
<Relationships xmlns="http://schemas.openxmlformats.org/package/2006/relationships"><Relationship Id="rId8" Type="http://schemas.openxmlformats.org/officeDocument/2006/relationships/diagramData" Target="../diagrams/data21.xml"/><Relationship Id="rId13" Type="http://schemas.openxmlformats.org/officeDocument/2006/relationships/diagramData" Target="../diagrams/data22.xml"/><Relationship Id="rId3" Type="http://schemas.openxmlformats.org/officeDocument/2006/relationships/diagramData" Target="../diagrams/data20.xml"/><Relationship Id="rId7" Type="http://schemas.microsoft.com/office/2007/relationships/diagramDrawing" Target="../diagrams/drawing20.xml"/><Relationship Id="rId12" Type="http://schemas.microsoft.com/office/2007/relationships/diagramDrawing" Target="../diagrams/drawing21.xml"/><Relationship Id="rId17" Type="http://schemas.microsoft.com/office/2007/relationships/diagramDrawing" Target="../diagrams/drawing22.xml"/><Relationship Id="rId2" Type="http://schemas.openxmlformats.org/officeDocument/2006/relationships/notesSlide" Target="../notesSlides/notesSlide15.xml"/><Relationship Id="rId16" Type="http://schemas.openxmlformats.org/officeDocument/2006/relationships/diagramColors" Target="../diagrams/colors22.xml"/><Relationship Id="rId1" Type="http://schemas.openxmlformats.org/officeDocument/2006/relationships/slideLayout" Target="../slideLayouts/slideLayout5.xml"/><Relationship Id="rId6" Type="http://schemas.openxmlformats.org/officeDocument/2006/relationships/diagramColors" Target="../diagrams/colors20.xml"/><Relationship Id="rId11" Type="http://schemas.openxmlformats.org/officeDocument/2006/relationships/diagramColors" Target="../diagrams/colors21.xml"/><Relationship Id="rId5" Type="http://schemas.openxmlformats.org/officeDocument/2006/relationships/diagramQuickStyle" Target="../diagrams/quickStyle20.xml"/><Relationship Id="rId15" Type="http://schemas.openxmlformats.org/officeDocument/2006/relationships/diagramQuickStyle" Target="../diagrams/quickStyle22.xml"/><Relationship Id="rId10" Type="http://schemas.openxmlformats.org/officeDocument/2006/relationships/diagramQuickStyle" Target="../diagrams/quickStyle21.xml"/><Relationship Id="rId4" Type="http://schemas.openxmlformats.org/officeDocument/2006/relationships/diagramLayout" Target="../diagrams/layout20.xml"/><Relationship Id="rId9" Type="http://schemas.openxmlformats.org/officeDocument/2006/relationships/diagramLayout" Target="../diagrams/layout21.xml"/><Relationship Id="rId14" Type="http://schemas.openxmlformats.org/officeDocument/2006/relationships/diagramLayout" Target="../diagrams/layout22.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xml"/><Relationship Id="rId7" Type="http://schemas.openxmlformats.org/officeDocument/2006/relationships/image" Target="../media/image23.png"/><Relationship Id="rId2" Type="http://schemas.openxmlformats.org/officeDocument/2006/relationships/slideLayout" Target="../slideLayouts/slideLayout60.xml"/><Relationship Id="rId1" Type="http://schemas.openxmlformats.org/officeDocument/2006/relationships/tags" Target="../tags/tag4.xml"/><Relationship Id="rId6" Type="http://schemas.openxmlformats.org/officeDocument/2006/relationships/image" Target="../media/image22.jp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20.xml.rels><?xml version="1.0" encoding="UTF-8" standalone="yes"?>
<Relationships xmlns="http://schemas.openxmlformats.org/package/2006/relationships"><Relationship Id="rId8" Type="http://schemas.openxmlformats.org/officeDocument/2006/relationships/hyperlink" Target="https://docs.microsoft.com/en-us/sql/relational-databases/performance/intelligent-query-processing?view=sql-server-2017" TargetMode="External"/><Relationship Id="rId3" Type="http://schemas.openxmlformats.org/officeDocument/2006/relationships/hyperlink" Target="https://aka.ms/sqlserver2022" TargetMode="External"/><Relationship Id="rId7" Type="http://schemas.openxmlformats.org/officeDocument/2006/relationships/image" Target="../media/image39.png"/><Relationship Id="rId12" Type="http://schemas.openxmlformats.org/officeDocument/2006/relationships/image" Target="../media/image41.svg"/><Relationship Id="rId2" Type="http://schemas.openxmlformats.org/officeDocument/2006/relationships/notesSlide" Target="../notesSlides/notesSlide17.xml"/><Relationship Id="rId1" Type="http://schemas.openxmlformats.org/officeDocument/2006/relationships/slideLayout" Target="../slideLayouts/slideLayout73.xml"/><Relationship Id="rId6" Type="http://schemas.openxmlformats.org/officeDocument/2006/relationships/image" Target="../media/image38.png"/><Relationship Id="rId11" Type="http://schemas.openxmlformats.org/officeDocument/2006/relationships/image" Target="../media/image40.png"/><Relationship Id="rId5" Type="http://schemas.openxmlformats.org/officeDocument/2006/relationships/hyperlink" Target="https://www.youtube.com/playlist?list=PL3EZ3A8mHh0xUC8xqFg7k1Qzp-f5HzbTB" TargetMode="External"/><Relationship Id="rId10" Type="http://schemas.openxmlformats.org/officeDocument/2006/relationships/hyperlink" Target="https://aka.ms/SQLCE" TargetMode="External"/><Relationship Id="rId4" Type="http://schemas.openxmlformats.org/officeDocument/2006/relationships/hyperlink" Target="https://aka.ms/sqlserver2022mechanics" TargetMode="External"/><Relationship Id="rId9" Type="http://schemas.openxmlformats.org/officeDocument/2006/relationships/hyperlink" Target="https://aka.ms/IQPDemos" TargetMode="Externa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0.xml"/><Relationship Id="rId1" Type="http://schemas.openxmlformats.org/officeDocument/2006/relationships/tags" Target="../tags/tag6.xml"/><Relationship Id="rId4" Type="http://schemas.openxmlformats.org/officeDocument/2006/relationships/image" Target="../media/image42.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6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96114" y="2722356"/>
            <a:ext cx="5199473" cy="1772793"/>
          </a:xfrm>
        </p:spPr>
        <p:txBody>
          <a:bodyPr/>
          <a:lstStyle/>
          <a:p>
            <a:r>
              <a:rPr lang="en-US" dirty="0"/>
              <a:t>Parameter Sensitive Plan Optimization in SQL Server 2022</a:t>
            </a:r>
            <a:br>
              <a:rPr lang="en-US" dirty="0"/>
            </a:br>
            <a:endParaRPr lang="en-US" dirty="0"/>
          </a:p>
        </p:txBody>
      </p:sp>
      <p:sp>
        <p:nvSpPr>
          <p:cNvPr id="3" name="Title 1">
            <a:extLst>
              <a:ext uri="{FF2B5EF4-FFF2-40B4-BE49-F238E27FC236}">
                <a16:creationId xmlns:a16="http://schemas.microsoft.com/office/drawing/2014/main" id="{2D7DCE8A-E71F-C224-3A7D-49E1051B4CDB}"/>
              </a:ext>
            </a:extLst>
          </p:cNvPr>
          <p:cNvSpPr txBox="1">
            <a:spLocks/>
          </p:cNvSpPr>
          <p:nvPr/>
        </p:nvSpPr>
        <p:spPr>
          <a:xfrm>
            <a:off x="496113" y="5006292"/>
            <a:ext cx="5199473" cy="886397"/>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r>
              <a:rPr lang="en-US" dirty="0"/>
              <a:t>John Deardurff</a:t>
            </a:r>
            <a:br>
              <a:rPr lang="en-US" dirty="0"/>
            </a:br>
            <a:endParaRPr lang="en-US" dirty="0"/>
          </a:p>
        </p:txBody>
      </p:sp>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Parameter Sensitive Plans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extLst>
              <p:ext uri="{D42A27DB-BD31-4B8C-83A1-F6EECF244321}">
                <p14:modId xmlns:p14="http://schemas.microsoft.com/office/powerpoint/2010/main" val="3653616819"/>
              </p:ext>
            </p:extLst>
          </p:nvPr>
        </p:nvGraphicFramePr>
        <p:xfrm>
          <a:off x="523763" y="854052"/>
          <a:ext cx="11144474" cy="547091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pic>
        <p:nvPicPr>
          <p:cNvPr id="6" name="Graphic 5" descr="Skunk with solid fill">
            <a:hlinkClick r:id="rId18"/>
            <a:extLst>
              <a:ext uri="{FF2B5EF4-FFF2-40B4-BE49-F238E27FC236}">
                <a16:creationId xmlns:a16="http://schemas.microsoft.com/office/drawing/2014/main" id="{C3D66D73-FB80-1AD3-3875-D8A7146B629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347048" y="1432617"/>
            <a:ext cx="1105976" cy="1105976"/>
          </a:xfrm>
          <a:prstGeom prst="rect">
            <a:avLst/>
          </a:prstGeom>
        </p:spPr>
      </p:pic>
    </p:spTree>
    <p:extLst>
      <p:ext uri="{BB962C8B-B14F-4D97-AF65-F5344CB8AC3E}">
        <p14:creationId xmlns:p14="http://schemas.microsoft.com/office/powerpoint/2010/main" val="21241201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87A64F-0B5C-4A2D-B294-DADB8BF8965C}"/>
              </a:ext>
            </a:extLst>
          </p:cNvPr>
          <p:cNvSpPr>
            <a:spLocks noGrp="1"/>
          </p:cNvSpPr>
          <p:nvPr>
            <p:ph type="title"/>
          </p:nvPr>
        </p:nvSpPr>
        <p:spPr/>
        <p:txBody>
          <a:bodyPr/>
          <a:lstStyle/>
          <a:p>
            <a:r>
              <a:rPr lang="en-US" dirty="0"/>
              <a:t>PSP today (Example of Real Estate agent's portfolio)</a:t>
            </a:r>
          </a:p>
        </p:txBody>
      </p:sp>
      <p:pic>
        <p:nvPicPr>
          <p:cNvPr id="8" name="Picture 7">
            <a:extLst>
              <a:ext uri="{FF2B5EF4-FFF2-40B4-BE49-F238E27FC236}">
                <a16:creationId xmlns:a16="http://schemas.microsoft.com/office/drawing/2014/main" id="{632CFDDA-31A4-4D8D-B337-508FE0EF355D}"/>
              </a:ext>
            </a:extLst>
          </p:cNvPr>
          <p:cNvPicPr>
            <a:picLocks noChangeAspect="1"/>
          </p:cNvPicPr>
          <p:nvPr/>
        </p:nvPicPr>
        <p:blipFill>
          <a:blip r:embed="rId2"/>
          <a:stretch>
            <a:fillRect/>
          </a:stretch>
        </p:blipFill>
        <p:spPr>
          <a:xfrm>
            <a:off x="1081971" y="2613308"/>
            <a:ext cx="6920717" cy="2736304"/>
          </a:xfrm>
          <a:prstGeom prst="rect">
            <a:avLst/>
          </a:prstGeom>
        </p:spPr>
      </p:pic>
      <p:graphicFrame>
        <p:nvGraphicFramePr>
          <p:cNvPr id="13" name="Diagram 12">
            <a:extLst>
              <a:ext uri="{FF2B5EF4-FFF2-40B4-BE49-F238E27FC236}">
                <a16:creationId xmlns:a16="http://schemas.microsoft.com/office/drawing/2014/main" id="{5ECFD59C-8212-4765-962C-8E632E8B19C4}"/>
              </a:ext>
            </a:extLst>
          </p:cNvPr>
          <p:cNvGraphicFramePr/>
          <p:nvPr/>
        </p:nvGraphicFramePr>
        <p:xfrm>
          <a:off x="591850" y="1508978"/>
          <a:ext cx="4715107" cy="8697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5" name="Picture 14">
            <a:extLst>
              <a:ext uri="{FF2B5EF4-FFF2-40B4-BE49-F238E27FC236}">
                <a16:creationId xmlns:a16="http://schemas.microsoft.com/office/drawing/2014/main" id="{3BF1F9F1-3DF5-46A9-8A41-F4F80D315B0B}"/>
              </a:ext>
            </a:extLst>
          </p:cNvPr>
          <p:cNvPicPr>
            <a:picLocks noChangeAspect="1"/>
          </p:cNvPicPr>
          <p:nvPr/>
        </p:nvPicPr>
        <p:blipFill>
          <a:blip r:embed="rId8"/>
          <a:stretch>
            <a:fillRect/>
          </a:stretch>
        </p:blipFill>
        <p:spPr>
          <a:xfrm>
            <a:off x="8616280" y="3086100"/>
            <a:ext cx="2114550" cy="6858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482946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8CE43A7-6A27-4FB9-9181-8EA3A043B294}"/>
              </a:ext>
            </a:extLst>
          </p:cNvPr>
          <p:cNvPicPr>
            <a:picLocks noChangeAspect="1"/>
          </p:cNvPicPr>
          <p:nvPr/>
        </p:nvPicPr>
        <p:blipFill>
          <a:blip r:embed="rId3"/>
          <a:stretch>
            <a:fillRect/>
          </a:stretch>
        </p:blipFill>
        <p:spPr>
          <a:xfrm>
            <a:off x="591849" y="1927336"/>
            <a:ext cx="8478348" cy="2653792"/>
          </a:xfrm>
          <a:prstGeom prst="rect">
            <a:avLst/>
          </a:prstGeom>
        </p:spPr>
      </p:pic>
      <p:sp>
        <p:nvSpPr>
          <p:cNvPr id="4" name="Title 3">
            <a:extLst>
              <a:ext uri="{FF2B5EF4-FFF2-40B4-BE49-F238E27FC236}">
                <a16:creationId xmlns:a16="http://schemas.microsoft.com/office/drawing/2014/main" id="{4987A64F-0B5C-4A2D-B294-DADB8BF8965C}"/>
              </a:ext>
            </a:extLst>
          </p:cNvPr>
          <p:cNvSpPr>
            <a:spLocks noGrp="1"/>
          </p:cNvSpPr>
          <p:nvPr>
            <p:ph type="title"/>
          </p:nvPr>
        </p:nvSpPr>
        <p:spPr/>
        <p:txBody>
          <a:bodyPr/>
          <a:lstStyle/>
          <a:p>
            <a:r>
              <a:rPr lang="en-US" dirty="0"/>
              <a:t>PSP today (Example of Real Estate agent's portfolio)</a:t>
            </a:r>
          </a:p>
        </p:txBody>
      </p:sp>
      <p:pic>
        <p:nvPicPr>
          <p:cNvPr id="3" name="Picture 2">
            <a:extLst>
              <a:ext uri="{FF2B5EF4-FFF2-40B4-BE49-F238E27FC236}">
                <a16:creationId xmlns:a16="http://schemas.microsoft.com/office/drawing/2014/main" id="{52FAB2A8-9EAC-45CA-986A-5D25EA0DEB9D}"/>
              </a:ext>
            </a:extLst>
          </p:cNvPr>
          <p:cNvPicPr>
            <a:picLocks noChangeAspect="1"/>
          </p:cNvPicPr>
          <p:nvPr/>
        </p:nvPicPr>
        <p:blipFill>
          <a:blip r:embed="rId4"/>
          <a:stretch>
            <a:fillRect/>
          </a:stretch>
        </p:blipFill>
        <p:spPr>
          <a:xfrm>
            <a:off x="591849" y="4942321"/>
            <a:ext cx="7900212" cy="1312208"/>
          </a:xfrm>
          <a:prstGeom prst="rect">
            <a:avLst/>
          </a:prstGeom>
        </p:spPr>
      </p:pic>
      <p:pic>
        <p:nvPicPr>
          <p:cNvPr id="6" name="Picture 5">
            <a:extLst>
              <a:ext uri="{FF2B5EF4-FFF2-40B4-BE49-F238E27FC236}">
                <a16:creationId xmlns:a16="http://schemas.microsoft.com/office/drawing/2014/main" id="{2875421E-9E19-4524-BB54-6E73EDBD2519}"/>
              </a:ext>
            </a:extLst>
          </p:cNvPr>
          <p:cNvPicPr>
            <a:picLocks noChangeAspect="1"/>
          </p:cNvPicPr>
          <p:nvPr/>
        </p:nvPicPr>
        <p:blipFill>
          <a:blip r:embed="rId5"/>
          <a:stretch>
            <a:fillRect/>
          </a:stretch>
        </p:blipFill>
        <p:spPr>
          <a:xfrm>
            <a:off x="9785122" y="5250763"/>
            <a:ext cx="2105025" cy="695325"/>
          </a:xfrm>
          <a:prstGeom prst="rect">
            <a:avLst/>
          </a:prstGeom>
          <a:ln>
            <a:noFill/>
          </a:ln>
          <a:effectLst>
            <a:outerShdw blurRad="292100" dist="139700" dir="2700000" algn="tl" rotWithShape="0">
              <a:srgbClr val="333333">
                <a:alpha val="65000"/>
              </a:srgbClr>
            </a:outerShdw>
          </a:effectLst>
        </p:spPr>
      </p:pic>
      <p:pic>
        <p:nvPicPr>
          <p:cNvPr id="16" name="Picture 15">
            <a:extLst>
              <a:ext uri="{FF2B5EF4-FFF2-40B4-BE49-F238E27FC236}">
                <a16:creationId xmlns:a16="http://schemas.microsoft.com/office/drawing/2014/main" id="{D31D6525-8FBE-40E9-89A0-14B8E637B12C}"/>
              </a:ext>
            </a:extLst>
          </p:cNvPr>
          <p:cNvPicPr>
            <a:picLocks noChangeAspect="1"/>
          </p:cNvPicPr>
          <p:nvPr/>
        </p:nvPicPr>
        <p:blipFill>
          <a:blip r:embed="rId6"/>
          <a:stretch>
            <a:fillRect/>
          </a:stretch>
        </p:blipFill>
        <p:spPr>
          <a:xfrm>
            <a:off x="9785121" y="2587870"/>
            <a:ext cx="2095500" cy="676275"/>
          </a:xfrm>
          <a:prstGeom prst="rect">
            <a:avLst/>
          </a:prstGeom>
          <a:ln>
            <a:noFill/>
          </a:ln>
          <a:effectLst>
            <a:outerShdw blurRad="292100" dist="139700" dir="2700000" algn="tl" rotWithShape="0">
              <a:srgbClr val="333333">
                <a:alpha val="65000"/>
              </a:srgbClr>
            </a:outerShdw>
          </a:effectLst>
        </p:spPr>
      </p:pic>
      <p:sp>
        <p:nvSpPr>
          <p:cNvPr id="2" name="TextBox 1">
            <a:extLst>
              <a:ext uri="{FF2B5EF4-FFF2-40B4-BE49-F238E27FC236}">
                <a16:creationId xmlns:a16="http://schemas.microsoft.com/office/drawing/2014/main" id="{DA72812B-4D6F-7D11-9F77-FE532F0628EB}"/>
              </a:ext>
            </a:extLst>
          </p:cNvPr>
          <p:cNvSpPr txBox="1"/>
          <p:nvPr/>
        </p:nvSpPr>
        <p:spPr>
          <a:xfrm>
            <a:off x="488950" y="1403350"/>
            <a:ext cx="5289550" cy="369332"/>
          </a:xfrm>
          <a:prstGeom prst="rect">
            <a:avLst/>
          </a:prstGeom>
          <a:solidFill>
            <a:schemeClr val="accent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chemeClr val="bg1"/>
                </a:solidFill>
              </a:rPr>
              <a:t>Using cached plan for Agent 2</a:t>
            </a:r>
          </a:p>
        </p:txBody>
      </p:sp>
      <p:sp>
        <p:nvSpPr>
          <p:cNvPr id="7" name="TextBox 6">
            <a:extLst>
              <a:ext uri="{FF2B5EF4-FFF2-40B4-BE49-F238E27FC236}">
                <a16:creationId xmlns:a16="http://schemas.microsoft.com/office/drawing/2014/main" id="{24A55CB5-7F31-FF1F-C165-3011BE76DECD}"/>
              </a:ext>
            </a:extLst>
          </p:cNvPr>
          <p:cNvSpPr txBox="1"/>
          <p:nvPr/>
        </p:nvSpPr>
        <p:spPr>
          <a:xfrm>
            <a:off x="488950" y="4392393"/>
            <a:ext cx="5289550" cy="369332"/>
          </a:xfrm>
          <a:prstGeom prst="rect">
            <a:avLst/>
          </a:prstGeom>
          <a:solidFill>
            <a:schemeClr val="accent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chemeClr val="bg1"/>
                </a:solidFill>
              </a:rPr>
              <a:t>New compile on Agent 2</a:t>
            </a:r>
          </a:p>
        </p:txBody>
      </p:sp>
    </p:spTree>
    <p:extLst>
      <p:ext uri="{BB962C8B-B14F-4D97-AF65-F5344CB8AC3E}">
        <p14:creationId xmlns:p14="http://schemas.microsoft.com/office/powerpoint/2010/main" val="34772003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PSP Optimization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extLst>
              <p:ext uri="{D42A27DB-BD31-4B8C-83A1-F6EECF244321}">
                <p14:modId xmlns:p14="http://schemas.microsoft.com/office/powerpoint/2010/main" val="2007137638"/>
              </p:ext>
            </p:extLst>
          </p:nvPr>
        </p:nvGraphicFramePr>
        <p:xfrm>
          <a:off x="523763" y="699248"/>
          <a:ext cx="11144474" cy="571051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9762720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PSP Predicate Selection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extLst>
              <p:ext uri="{D42A27DB-BD31-4B8C-83A1-F6EECF244321}">
                <p14:modId xmlns:p14="http://schemas.microsoft.com/office/powerpoint/2010/main" val="364779723"/>
              </p:ext>
            </p:extLst>
          </p:nvPr>
        </p:nvGraphicFramePr>
        <p:xfrm>
          <a:off x="393577" y="912067"/>
          <a:ext cx="11404845" cy="509188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1296022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Boundary Value Selection (Dispatcher Plan)</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22" name="Picture 21">
            <a:extLst>
              <a:ext uri="{FF2B5EF4-FFF2-40B4-BE49-F238E27FC236}">
                <a16:creationId xmlns:a16="http://schemas.microsoft.com/office/drawing/2014/main" id="{181C1E27-E373-3077-41E7-82C9245D0476}"/>
              </a:ext>
            </a:extLst>
          </p:cNvPr>
          <p:cNvPicPr>
            <a:picLocks noChangeAspect="1"/>
          </p:cNvPicPr>
          <p:nvPr/>
        </p:nvPicPr>
        <p:blipFill>
          <a:blip r:embed="rId13"/>
          <a:stretch>
            <a:fillRect/>
          </a:stretch>
        </p:blipFill>
        <p:spPr>
          <a:xfrm>
            <a:off x="0" y="799531"/>
            <a:ext cx="12192000" cy="5258937"/>
          </a:xfrm>
          <a:prstGeom prst="rect">
            <a:avLst/>
          </a:prstGeom>
        </p:spPr>
      </p:pic>
    </p:spTree>
    <p:extLst>
      <p:ext uri="{BB962C8B-B14F-4D97-AF65-F5344CB8AC3E}">
        <p14:creationId xmlns:p14="http://schemas.microsoft.com/office/powerpoint/2010/main" val="222332852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Dispatcher Plan in XML</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TextBox 9">
            <a:extLst>
              <a:ext uri="{FF2B5EF4-FFF2-40B4-BE49-F238E27FC236}">
                <a16:creationId xmlns:a16="http://schemas.microsoft.com/office/drawing/2014/main" id="{2D03AAA4-2749-B7A4-7168-458DA410324A}"/>
              </a:ext>
            </a:extLst>
          </p:cNvPr>
          <p:cNvSpPr txBox="1"/>
          <p:nvPr/>
        </p:nvSpPr>
        <p:spPr>
          <a:xfrm>
            <a:off x="393577" y="766732"/>
            <a:ext cx="11549801" cy="5324535"/>
          </a:xfrm>
          <a:prstGeom prst="rect">
            <a:avLst/>
          </a:prstGeom>
          <a:solidFill>
            <a:schemeClr val="bg1"/>
          </a:solidFill>
        </p:spPr>
        <p:txBody>
          <a:bodyPr wrap="square">
            <a:spAutoFit/>
          </a:bodyPr>
          <a:lstStyle/>
          <a:p>
            <a:r>
              <a:rPr lang="en-US" sz="2000" b="0" i="0" dirty="0">
                <a:solidFill>
                  <a:srgbClr val="569CD6"/>
                </a:solidFill>
                <a:effectLst/>
                <a:latin typeface="Segoe UI Semibold" panose="020B0702040204020203" pitchFamily="34" charset="0"/>
                <a:cs typeface="Segoe UI Semibold" panose="020B0702040204020203" pitchFamily="34" charset="0"/>
              </a:rPr>
              <a:t>&lt;Dispatcher&gt;</a:t>
            </a:r>
            <a:r>
              <a:rPr lang="en-US" sz="2000" b="0" i="0" dirty="0">
                <a:solidFill>
                  <a:srgbClr val="E6E6E6"/>
                </a:solidFill>
                <a:effectLst/>
                <a:latin typeface="Segoe UI Semibold" panose="020B0702040204020203" pitchFamily="34" charset="0"/>
                <a:cs typeface="Segoe UI Semibold" panose="020B0702040204020203" pitchFamily="34" charset="0"/>
              </a:rPr>
              <a:t> </a:t>
            </a:r>
          </a:p>
          <a:p>
            <a:r>
              <a:rPr lang="en-US" sz="2000" dirty="0">
                <a:solidFill>
                  <a:srgbClr val="E6E6E6"/>
                </a:solidFill>
                <a:latin typeface="Segoe UI Semibold" panose="020B0702040204020203" pitchFamily="34" charset="0"/>
                <a:cs typeface="Segoe UI Semibold" panose="020B0702040204020203" pitchFamily="34" charset="0"/>
              </a:rPr>
              <a:t>  </a:t>
            </a:r>
            <a:r>
              <a:rPr lang="en-US" sz="2000" b="0" i="0" dirty="0">
                <a:solidFill>
                  <a:srgbClr val="569CD6"/>
                </a:solidFill>
                <a:effectLst/>
                <a:latin typeface="Segoe UI Semibold" panose="020B0702040204020203" pitchFamily="34" charset="0"/>
                <a:cs typeface="Segoe UI Semibold" panose="020B0702040204020203" pitchFamily="34" charset="0"/>
              </a:rPr>
              <a:t>&lt;</a:t>
            </a:r>
            <a:r>
              <a:rPr lang="en-US" sz="2000" b="0" i="0" dirty="0" err="1">
                <a:solidFill>
                  <a:srgbClr val="569CD6"/>
                </a:solidFill>
                <a:effectLst/>
                <a:latin typeface="Segoe UI Semibold" panose="020B0702040204020203" pitchFamily="34" charset="0"/>
                <a:cs typeface="Segoe UI Semibold" panose="020B0702040204020203" pitchFamily="34" charset="0"/>
              </a:rPr>
              <a:t>ParameterSensitivePredicate</a:t>
            </a:r>
            <a:r>
              <a:rPr lang="en-US" sz="2000" b="0" i="0" dirty="0">
                <a:solidFill>
                  <a:srgbClr val="569CD6"/>
                </a:solidFill>
                <a:effectLst/>
                <a:latin typeface="Segoe UI Semibold" panose="020B0702040204020203" pitchFamily="34" charset="0"/>
                <a:cs typeface="Segoe UI Semibold" panose="020B0702040204020203" pitchFamily="34" charset="0"/>
              </a:rPr>
              <a:t> </a:t>
            </a:r>
            <a:r>
              <a:rPr lang="en-US" sz="2000" b="0" i="0" dirty="0" err="1">
                <a:solidFill>
                  <a:srgbClr val="9CDCFE"/>
                </a:solidFill>
                <a:effectLst/>
                <a:latin typeface="Segoe UI Semibold" panose="020B0702040204020203" pitchFamily="34" charset="0"/>
                <a:cs typeface="Segoe UI Semibold" panose="020B0702040204020203" pitchFamily="34" charset="0"/>
              </a:rPr>
              <a:t>LowBoundary</a:t>
            </a:r>
            <a:r>
              <a:rPr lang="en-US" sz="2000" b="0" i="0" dirty="0">
                <a:solidFill>
                  <a:srgbClr val="569CD6"/>
                </a:solidFill>
                <a:effectLst/>
                <a:latin typeface="Segoe UI Semibold" panose="020B0702040204020203" pitchFamily="34" charset="0"/>
                <a:cs typeface="Segoe UI Semibold" panose="020B0702040204020203" pitchFamily="34" charset="0"/>
              </a:rPr>
              <a:t>=</a:t>
            </a:r>
            <a:r>
              <a:rPr lang="en-US" sz="2000" b="0" i="0" dirty="0">
                <a:solidFill>
                  <a:srgbClr val="CE9178"/>
                </a:solidFill>
                <a:effectLst/>
                <a:latin typeface="Segoe UI Semibold" panose="020B0702040204020203" pitchFamily="34" charset="0"/>
                <a:cs typeface="Segoe UI Semibold" panose="020B0702040204020203" pitchFamily="34" charset="0"/>
              </a:rPr>
              <a:t>"100"</a:t>
            </a:r>
            <a:r>
              <a:rPr lang="en-US" sz="2000" b="0" i="0" dirty="0">
                <a:solidFill>
                  <a:srgbClr val="569CD6"/>
                </a:solidFill>
                <a:effectLst/>
                <a:latin typeface="Segoe UI Semibold" panose="020B0702040204020203" pitchFamily="34" charset="0"/>
                <a:cs typeface="Segoe UI Semibold" panose="020B0702040204020203" pitchFamily="34" charset="0"/>
              </a:rPr>
              <a:t> </a:t>
            </a:r>
            <a:r>
              <a:rPr lang="en-US" sz="2000" b="0" i="0" dirty="0" err="1">
                <a:solidFill>
                  <a:srgbClr val="9CDCFE"/>
                </a:solidFill>
                <a:effectLst/>
                <a:latin typeface="Segoe UI Semibold" panose="020B0702040204020203" pitchFamily="34" charset="0"/>
                <a:cs typeface="Segoe UI Semibold" panose="020B0702040204020203" pitchFamily="34" charset="0"/>
              </a:rPr>
              <a:t>HighBoundary</a:t>
            </a:r>
            <a:r>
              <a:rPr lang="en-US" sz="2000" b="0" i="0" dirty="0">
                <a:solidFill>
                  <a:srgbClr val="569CD6"/>
                </a:solidFill>
                <a:effectLst/>
                <a:latin typeface="Segoe UI Semibold" panose="020B0702040204020203" pitchFamily="34" charset="0"/>
                <a:cs typeface="Segoe UI Semibold" panose="020B0702040204020203" pitchFamily="34" charset="0"/>
              </a:rPr>
              <a:t>=</a:t>
            </a:r>
            <a:r>
              <a:rPr lang="en-US" sz="2000" b="0" i="0" dirty="0">
                <a:solidFill>
                  <a:srgbClr val="CE9178"/>
                </a:solidFill>
                <a:effectLst/>
                <a:latin typeface="Segoe UI Semibold" panose="020B0702040204020203" pitchFamily="34" charset="0"/>
                <a:cs typeface="Segoe UI Semibold" panose="020B0702040204020203" pitchFamily="34" charset="0"/>
              </a:rPr>
              <a:t>"1000000"</a:t>
            </a:r>
            <a:r>
              <a:rPr lang="en-US" sz="2000" b="0" i="0" dirty="0">
                <a:solidFill>
                  <a:srgbClr val="569CD6"/>
                </a:solidFill>
                <a:effectLst/>
                <a:latin typeface="Segoe UI Semibold" panose="020B0702040204020203" pitchFamily="34" charset="0"/>
                <a:cs typeface="Segoe UI Semibold" panose="020B0702040204020203" pitchFamily="34" charset="0"/>
              </a:rPr>
              <a:t>&gt;</a:t>
            </a:r>
          </a:p>
          <a:p>
            <a:r>
              <a:rPr lang="en-US" sz="2000" b="0" i="0" dirty="0">
                <a:solidFill>
                  <a:srgbClr val="E6E6E6"/>
                </a:solidFill>
                <a:effectLst/>
                <a:latin typeface="Segoe UI Semibold" panose="020B0702040204020203" pitchFamily="34" charset="0"/>
                <a:cs typeface="Segoe UI Semibold" panose="020B0702040204020203" pitchFamily="34" charset="0"/>
              </a:rPr>
              <a:t>  </a:t>
            </a:r>
            <a:r>
              <a:rPr lang="en-US" sz="2000" b="0" i="0" dirty="0">
                <a:solidFill>
                  <a:srgbClr val="569CD6"/>
                </a:solidFill>
                <a:effectLst/>
                <a:latin typeface="Segoe UI Semibold" panose="020B0702040204020203" pitchFamily="34" charset="0"/>
                <a:cs typeface="Segoe UI Semibold" panose="020B0702040204020203" pitchFamily="34" charset="0"/>
              </a:rPr>
              <a:t>&lt;</a:t>
            </a:r>
            <a:r>
              <a:rPr lang="en-US" sz="2000" b="0" i="0" dirty="0" err="1">
                <a:solidFill>
                  <a:srgbClr val="569CD6"/>
                </a:solidFill>
                <a:effectLst/>
                <a:latin typeface="Segoe UI Semibold" panose="020B0702040204020203" pitchFamily="34" charset="0"/>
                <a:cs typeface="Segoe UI Semibold" panose="020B0702040204020203" pitchFamily="34" charset="0"/>
              </a:rPr>
              <a:t>StatisticsInfo</a:t>
            </a:r>
            <a:r>
              <a:rPr lang="en-US" sz="2000" b="0" i="0" dirty="0">
                <a:solidFill>
                  <a:srgbClr val="569CD6"/>
                </a:solidFill>
                <a:effectLst/>
                <a:latin typeface="Segoe UI Semibold" panose="020B0702040204020203" pitchFamily="34" charset="0"/>
                <a:cs typeface="Segoe UI Semibold" panose="020B0702040204020203" pitchFamily="34" charset="0"/>
              </a:rPr>
              <a:t> </a:t>
            </a:r>
            <a:r>
              <a:rPr lang="en-US" sz="2000" b="0" i="0" dirty="0">
                <a:solidFill>
                  <a:srgbClr val="9CDCFE"/>
                </a:solidFill>
                <a:effectLst/>
                <a:latin typeface="Segoe UI Semibold" panose="020B0702040204020203" pitchFamily="34" charset="0"/>
                <a:cs typeface="Segoe UI Semibold" panose="020B0702040204020203" pitchFamily="34" charset="0"/>
              </a:rPr>
              <a:t>Database</a:t>
            </a:r>
            <a:r>
              <a:rPr lang="en-US" sz="2000" b="0" i="0" dirty="0">
                <a:solidFill>
                  <a:srgbClr val="569CD6"/>
                </a:solidFill>
                <a:effectLst/>
                <a:latin typeface="Segoe UI Semibold" panose="020B0702040204020203" pitchFamily="34" charset="0"/>
                <a:cs typeface="Segoe UI Semibold" panose="020B0702040204020203" pitchFamily="34" charset="0"/>
              </a:rPr>
              <a:t>=</a:t>
            </a:r>
            <a:r>
              <a:rPr lang="en-US" sz="2000" b="0" i="0" dirty="0">
                <a:solidFill>
                  <a:srgbClr val="CE9178"/>
                </a:solidFill>
                <a:effectLst/>
                <a:latin typeface="Segoe UI Semibold" panose="020B0702040204020203" pitchFamily="34" charset="0"/>
                <a:cs typeface="Segoe UI Semibold" panose="020B0702040204020203" pitchFamily="34" charset="0"/>
              </a:rPr>
              <a:t>"[</a:t>
            </a:r>
            <a:r>
              <a:rPr lang="en-US" sz="2000" b="0" i="0" dirty="0" err="1">
                <a:solidFill>
                  <a:srgbClr val="CE9178"/>
                </a:solidFill>
                <a:effectLst/>
                <a:latin typeface="Segoe UI Semibold" panose="020B0702040204020203" pitchFamily="34" charset="0"/>
                <a:cs typeface="Segoe UI Semibold" panose="020B0702040204020203" pitchFamily="34" charset="0"/>
              </a:rPr>
              <a:t>PropertyMLS</a:t>
            </a:r>
            <a:r>
              <a:rPr lang="en-US" sz="2000" b="0" i="0" dirty="0">
                <a:solidFill>
                  <a:srgbClr val="CE9178"/>
                </a:solidFill>
                <a:effectLst/>
                <a:latin typeface="Segoe UI Semibold" panose="020B0702040204020203" pitchFamily="34" charset="0"/>
                <a:cs typeface="Segoe UI Semibold" panose="020B0702040204020203" pitchFamily="34" charset="0"/>
              </a:rPr>
              <a:t>]"</a:t>
            </a:r>
            <a:r>
              <a:rPr lang="en-US" sz="2000" b="0" i="0" dirty="0">
                <a:solidFill>
                  <a:srgbClr val="569CD6"/>
                </a:solidFill>
                <a:effectLst/>
                <a:latin typeface="Segoe UI Semibold" panose="020B0702040204020203" pitchFamily="34" charset="0"/>
                <a:cs typeface="Segoe UI Semibold" panose="020B0702040204020203" pitchFamily="34" charset="0"/>
              </a:rPr>
              <a:t> </a:t>
            </a:r>
            <a:r>
              <a:rPr lang="en-US" sz="2000" b="0" i="0" dirty="0">
                <a:solidFill>
                  <a:srgbClr val="9CDCFE"/>
                </a:solidFill>
                <a:effectLst/>
                <a:latin typeface="Segoe UI Semibold" panose="020B0702040204020203" pitchFamily="34" charset="0"/>
                <a:cs typeface="Segoe UI Semibold" panose="020B0702040204020203" pitchFamily="34" charset="0"/>
              </a:rPr>
              <a:t>Schema</a:t>
            </a:r>
            <a:r>
              <a:rPr lang="en-US" sz="2000" b="0" i="0" dirty="0">
                <a:solidFill>
                  <a:srgbClr val="569CD6"/>
                </a:solidFill>
                <a:effectLst/>
                <a:latin typeface="Segoe UI Semibold" panose="020B0702040204020203" pitchFamily="34" charset="0"/>
                <a:cs typeface="Segoe UI Semibold" panose="020B0702040204020203" pitchFamily="34" charset="0"/>
              </a:rPr>
              <a:t>=</a:t>
            </a:r>
            <a:r>
              <a:rPr lang="en-US" sz="2000" b="0" i="0" dirty="0">
                <a:solidFill>
                  <a:srgbClr val="CE9178"/>
                </a:solidFill>
                <a:effectLst/>
                <a:latin typeface="Segoe UI Semibold" panose="020B0702040204020203" pitchFamily="34" charset="0"/>
                <a:cs typeface="Segoe UI Semibold" panose="020B0702040204020203" pitchFamily="34" charset="0"/>
              </a:rPr>
              <a:t>"[</a:t>
            </a:r>
            <a:r>
              <a:rPr lang="en-US" sz="2000" b="0" i="0" dirty="0" err="1">
                <a:solidFill>
                  <a:srgbClr val="CE9178"/>
                </a:solidFill>
                <a:effectLst/>
                <a:latin typeface="Segoe UI Semibold" panose="020B0702040204020203" pitchFamily="34" charset="0"/>
                <a:cs typeface="Segoe UI Semibold" panose="020B0702040204020203" pitchFamily="34" charset="0"/>
              </a:rPr>
              <a:t>dbo</a:t>
            </a:r>
            <a:r>
              <a:rPr lang="en-US" sz="2000" b="0" i="0" dirty="0">
                <a:solidFill>
                  <a:srgbClr val="CE9178"/>
                </a:solidFill>
                <a:effectLst/>
                <a:latin typeface="Segoe UI Semibold" panose="020B0702040204020203" pitchFamily="34" charset="0"/>
                <a:cs typeface="Segoe UI Semibold" panose="020B0702040204020203" pitchFamily="34" charset="0"/>
              </a:rPr>
              <a:t>]"</a:t>
            </a:r>
            <a:r>
              <a:rPr lang="en-US" sz="2000" b="0" i="0" dirty="0">
                <a:solidFill>
                  <a:srgbClr val="569CD6"/>
                </a:solidFill>
                <a:effectLst/>
                <a:latin typeface="Segoe UI Semibold" panose="020B0702040204020203" pitchFamily="34" charset="0"/>
                <a:cs typeface="Segoe UI Semibold" panose="020B0702040204020203" pitchFamily="34" charset="0"/>
              </a:rPr>
              <a:t> </a:t>
            </a:r>
            <a:r>
              <a:rPr lang="en-US" sz="2000" b="0" i="0" dirty="0">
                <a:solidFill>
                  <a:srgbClr val="9CDCFE"/>
                </a:solidFill>
                <a:effectLst/>
                <a:latin typeface="Segoe UI Semibold" panose="020B0702040204020203" pitchFamily="34" charset="0"/>
                <a:cs typeface="Segoe UI Semibold" panose="020B0702040204020203" pitchFamily="34" charset="0"/>
              </a:rPr>
              <a:t>Table</a:t>
            </a:r>
            <a:r>
              <a:rPr lang="en-US" sz="2000" b="0" i="0" dirty="0">
                <a:solidFill>
                  <a:srgbClr val="569CD6"/>
                </a:solidFill>
                <a:effectLst/>
                <a:latin typeface="Segoe UI Semibold" panose="020B0702040204020203" pitchFamily="34" charset="0"/>
                <a:cs typeface="Segoe UI Semibold" panose="020B0702040204020203" pitchFamily="34" charset="0"/>
              </a:rPr>
              <a:t>=</a:t>
            </a:r>
            <a:r>
              <a:rPr lang="en-US" sz="2000" b="0" i="0" dirty="0">
                <a:solidFill>
                  <a:srgbClr val="CE9178"/>
                </a:solidFill>
                <a:effectLst/>
                <a:latin typeface="Segoe UI Semibold" panose="020B0702040204020203" pitchFamily="34" charset="0"/>
                <a:cs typeface="Segoe UI Semibold" panose="020B0702040204020203" pitchFamily="34" charset="0"/>
              </a:rPr>
              <a:t>"[Property]"</a:t>
            </a:r>
            <a:r>
              <a:rPr lang="en-US" sz="2000" b="0" i="0" dirty="0">
                <a:solidFill>
                  <a:srgbClr val="569CD6"/>
                </a:solidFill>
                <a:effectLst/>
                <a:latin typeface="Segoe UI Semibold" panose="020B0702040204020203" pitchFamily="34" charset="0"/>
                <a:cs typeface="Segoe UI Semibold" panose="020B0702040204020203" pitchFamily="34" charset="0"/>
              </a:rPr>
              <a:t> 	</a:t>
            </a:r>
            <a:r>
              <a:rPr lang="en-US" sz="2000" b="0" i="0" dirty="0">
                <a:solidFill>
                  <a:srgbClr val="9CDCFE"/>
                </a:solidFill>
                <a:effectLst/>
                <a:latin typeface="Segoe UI Semibold" panose="020B0702040204020203" pitchFamily="34" charset="0"/>
                <a:cs typeface="Segoe UI Semibold" panose="020B0702040204020203" pitchFamily="34" charset="0"/>
              </a:rPr>
              <a:t>Statistics</a:t>
            </a:r>
            <a:r>
              <a:rPr lang="en-US" sz="2000" b="0" i="0" dirty="0">
                <a:solidFill>
                  <a:srgbClr val="569CD6"/>
                </a:solidFill>
                <a:effectLst/>
                <a:latin typeface="Segoe UI Semibold" panose="020B0702040204020203" pitchFamily="34" charset="0"/>
                <a:cs typeface="Segoe UI Semibold" panose="020B0702040204020203" pitchFamily="34" charset="0"/>
              </a:rPr>
              <a:t>=</a:t>
            </a:r>
            <a:r>
              <a:rPr lang="en-US" sz="2000" b="0" i="0" dirty="0">
                <a:solidFill>
                  <a:srgbClr val="CE9178"/>
                </a:solidFill>
                <a:effectLst/>
                <a:latin typeface="Segoe UI Semibold" panose="020B0702040204020203" pitchFamily="34" charset="0"/>
                <a:cs typeface="Segoe UI Semibold" panose="020B0702040204020203" pitchFamily="34" charset="0"/>
              </a:rPr>
              <a:t>"[</a:t>
            </a:r>
            <a:r>
              <a:rPr lang="en-US" sz="2000" b="0" i="0" dirty="0" err="1">
                <a:solidFill>
                  <a:srgbClr val="CE9178"/>
                </a:solidFill>
                <a:effectLst/>
                <a:latin typeface="Segoe UI Semibold" panose="020B0702040204020203" pitchFamily="34" charset="0"/>
                <a:cs typeface="Segoe UI Semibold" panose="020B0702040204020203" pitchFamily="34" charset="0"/>
              </a:rPr>
              <a:t>NCI_Property_AgentId</a:t>
            </a:r>
            <a:r>
              <a:rPr lang="en-US" sz="2000" b="0" i="0" dirty="0">
                <a:solidFill>
                  <a:srgbClr val="CE9178"/>
                </a:solidFill>
                <a:effectLst/>
                <a:latin typeface="Segoe UI Semibold" panose="020B0702040204020203" pitchFamily="34" charset="0"/>
                <a:cs typeface="Segoe UI Semibold" panose="020B0702040204020203" pitchFamily="34" charset="0"/>
              </a:rPr>
              <a:t>]"</a:t>
            </a:r>
            <a:r>
              <a:rPr lang="en-US" sz="2000" b="0" i="0" dirty="0">
                <a:solidFill>
                  <a:srgbClr val="569CD6"/>
                </a:solidFill>
                <a:effectLst/>
                <a:latin typeface="Segoe UI Semibold" panose="020B0702040204020203" pitchFamily="34" charset="0"/>
                <a:cs typeface="Segoe UI Semibold" panose="020B0702040204020203" pitchFamily="34" charset="0"/>
              </a:rPr>
              <a:t> </a:t>
            </a:r>
            <a:r>
              <a:rPr lang="en-US" sz="2000" b="0" i="0" dirty="0" err="1">
                <a:solidFill>
                  <a:srgbClr val="9CDCFE"/>
                </a:solidFill>
                <a:effectLst/>
                <a:latin typeface="Segoe UI Semibold" panose="020B0702040204020203" pitchFamily="34" charset="0"/>
                <a:cs typeface="Segoe UI Semibold" panose="020B0702040204020203" pitchFamily="34" charset="0"/>
              </a:rPr>
              <a:t>ModificationCount</a:t>
            </a:r>
            <a:r>
              <a:rPr lang="en-US" sz="2000" b="0" i="0" dirty="0">
                <a:solidFill>
                  <a:srgbClr val="569CD6"/>
                </a:solidFill>
                <a:effectLst/>
                <a:latin typeface="Segoe UI Semibold" panose="020B0702040204020203" pitchFamily="34" charset="0"/>
                <a:cs typeface="Segoe UI Semibold" panose="020B0702040204020203" pitchFamily="34" charset="0"/>
              </a:rPr>
              <a:t>=</a:t>
            </a:r>
            <a:r>
              <a:rPr lang="en-US" sz="2000" b="0" i="0" dirty="0">
                <a:solidFill>
                  <a:srgbClr val="CE9178"/>
                </a:solidFill>
                <a:effectLst/>
                <a:latin typeface="Segoe UI Semibold" panose="020B0702040204020203" pitchFamily="34" charset="0"/>
                <a:cs typeface="Segoe UI Semibold" panose="020B0702040204020203" pitchFamily="34" charset="0"/>
              </a:rPr>
              <a:t>"0"</a:t>
            </a:r>
            <a:r>
              <a:rPr lang="en-US" sz="2000" b="0" i="0" dirty="0">
                <a:solidFill>
                  <a:srgbClr val="569CD6"/>
                </a:solidFill>
                <a:effectLst/>
                <a:latin typeface="Segoe UI Semibold" panose="020B0702040204020203" pitchFamily="34" charset="0"/>
                <a:cs typeface="Segoe UI Semibold" panose="020B0702040204020203" pitchFamily="34" charset="0"/>
              </a:rPr>
              <a:t> </a:t>
            </a:r>
            <a:r>
              <a:rPr lang="en-US" sz="2000" b="0" i="0" dirty="0" err="1">
                <a:solidFill>
                  <a:srgbClr val="9CDCFE"/>
                </a:solidFill>
                <a:effectLst/>
                <a:latin typeface="Segoe UI Semibold" panose="020B0702040204020203" pitchFamily="34" charset="0"/>
                <a:cs typeface="Segoe UI Semibold" panose="020B0702040204020203" pitchFamily="34" charset="0"/>
              </a:rPr>
              <a:t>SamplingPercent</a:t>
            </a:r>
            <a:r>
              <a:rPr lang="en-US" sz="2000" b="0" i="0" dirty="0">
                <a:solidFill>
                  <a:srgbClr val="569CD6"/>
                </a:solidFill>
                <a:effectLst/>
                <a:latin typeface="Segoe UI Semibold" panose="020B0702040204020203" pitchFamily="34" charset="0"/>
                <a:cs typeface="Segoe UI Semibold" panose="020B0702040204020203" pitchFamily="34" charset="0"/>
              </a:rPr>
              <a:t>=</a:t>
            </a:r>
            <a:r>
              <a:rPr lang="en-US" sz="2000" b="0" i="0" dirty="0">
                <a:solidFill>
                  <a:srgbClr val="CE9178"/>
                </a:solidFill>
                <a:effectLst/>
                <a:latin typeface="Segoe UI Semibold" panose="020B0702040204020203" pitchFamily="34" charset="0"/>
                <a:cs typeface="Segoe UI Semibold" panose="020B0702040204020203" pitchFamily="34" charset="0"/>
              </a:rPr>
              <a:t>"100"</a:t>
            </a:r>
            <a:r>
              <a:rPr lang="en-US" sz="2000" b="0" i="0" dirty="0">
                <a:solidFill>
                  <a:srgbClr val="569CD6"/>
                </a:solidFill>
                <a:effectLst/>
                <a:latin typeface="Segoe UI Semibold" panose="020B0702040204020203" pitchFamily="34" charset="0"/>
                <a:cs typeface="Segoe UI Semibold" panose="020B0702040204020203" pitchFamily="34" charset="0"/>
              </a:rPr>
              <a:t> 	</a:t>
            </a:r>
            <a:r>
              <a:rPr lang="en-US" sz="2000" b="0" i="0" dirty="0" err="1">
                <a:solidFill>
                  <a:srgbClr val="9CDCFE"/>
                </a:solidFill>
                <a:effectLst/>
                <a:latin typeface="Segoe UI Semibold" panose="020B0702040204020203" pitchFamily="34" charset="0"/>
                <a:cs typeface="Segoe UI Semibold" panose="020B0702040204020203" pitchFamily="34" charset="0"/>
              </a:rPr>
              <a:t>LastUpdate</a:t>
            </a:r>
            <a:r>
              <a:rPr lang="en-US" sz="2000" b="0" i="0" dirty="0">
                <a:solidFill>
                  <a:srgbClr val="569CD6"/>
                </a:solidFill>
                <a:effectLst/>
                <a:latin typeface="Segoe UI Semibold" panose="020B0702040204020203" pitchFamily="34" charset="0"/>
                <a:cs typeface="Segoe UI Semibold" panose="020B0702040204020203" pitchFamily="34" charset="0"/>
              </a:rPr>
              <a:t>=</a:t>
            </a:r>
            <a:r>
              <a:rPr lang="en-US" sz="2000" b="0" i="0" dirty="0">
                <a:solidFill>
                  <a:srgbClr val="CE9178"/>
                </a:solidFill>
                <a:effectLst/>
                <a:latin typeface="Segoe UI Semibold" panose="020B0702040204020203" pitchFamily="34" charset="0"/>
                <a:cs typeface="Segoe UI Semibold" panose="020B0702040204020203" pitchFamily="34" charset="0"/>
              </a:rPr>
              <a:t>"2019-09-07T15:32:16.89"</a:t>
            </a:r>
            <a:r>
              <a:rPr lang="en-US" sz="2000" b="0" i="0" dirty="0">
                <a:solidFill>
                  <a:srgbClr val="569CD6"/>
                </a:solidFill>
                <a:effectLst/>
                <a:latin typeface="Segoe UI Semibold" panose="020B0702040204020203" pitchFamily="34" charset="0"/>
                <a:cs typeface="Segoe UI Semibold" panose="020B0702040204020203" pitchFamily="34" charset="0"/>
              </a:rPr>
              <a:t> /&gt;</a:t>
            </a:r>
            <a:r>
              <a:rPr lang="en-US" sz="2000" b="0" i="0" dirty="0">
                <a:solidFill>
                  <a:srgbClr val="E6E6E6"/>
                </a:solidFill>
                <a:effectLst/>
                <a:latin typeface="Segoe UI Semibold" panose="020B0702040204020203" pitchFamily="34" charset="0"/>
                <a:cs typeface="Segoe UI Semibold" panose="020B0702040204020203" pitchFamily="34" charset="0"/>
              </a:rPr>
              <a:t> </a:t>
            </a:r>
          </a:p>
          <a:p>
            <a:r>
              <a:rPr lang="en-US" sz="2000" b="0" i="0" dirty="0">
                <a:solidFill>
                  <a:srgbClr val="569CD6"/>
                </a:solidFill>
                <a:effectLst/>
                <a:latin typeface="Segoe UI Semibold" panose="020B0702040204020203" pitchFamily="34" charset="0"/>
                <a:cs typeface="Segoe UI Semibold" panose="020B0702040204020203" pitchFamily="34" charset="0"/>
              </a:rPr>
              <a:t> &lt;Predicate&gt;</a:t>
            </a:r>
          </a:p>
          <a:p>
            <a:r>
              <a:rPr lang="en-US" sz="2000" b="0" i="0" dirty="0">
                <a:solidFill>
                  <a:srgbClr val="E6E6E6"/>
                </a:solidFill>
                <a:effectLst/>
                <a:latin typeface="Segoe UI Semibold" panose="020B0702040204020203" pitchFamily="34" charset="0"/>
                <a:cs typeface="Segoe UI Semibold" panose="020B0702040204020203" pitchFamily="34" charset="0"/>
              </a:rPr>
              <a:t> </a:t>
            </a:r>
            <a:r>
              <a:rPr lang="en-US" sz="2000" b="0" i="0" dirty="0">
                <a:solidFill>
                  <a:srgbClr val="569CD6"/>
                </a:solidFill>
                <a:effectLst/>
                <a:latin typeface="Segoe UI Semibold" panose="020B0702040204020203" pitchFamily="34" charset="0"/>
                <a:cs typeface="Segoe UI Semibold" panose="020B0702040204020203" pitchFamily="34" charset="0"/>
              </a:rPr>
              <a:t>&lt;</a:t>
            </a:r>
            <a:r>
              <a:rPr lang="en-US" sz="2000" b="0" i="0" dirty="0" err="1">
                <a:solidFill>
                  <a:srgbClr val="569CD6"/>
                </a:solidFill>
                <a:effectLst/>
                <a:latin typeface="Segoe UI Semibold" panose="020B0702040204020203" pitchFamily="34" charset="0"/>
                <a:cs typeface="Segoe UI Semibold" panose="020B0702040204020203" pitchFamily="34" charset="0"/>
              </a:rPr>
              <a:t>ScalarOperator</a:t>
            </a:r>
            <a:r>
              <a:rPr lang="en-US" sz="2000" b="0" i="0" dirty="0">
                <a:solidFill>
                  <a:srgbClr val="569CD6"/>
                </a:solidFill>
                <a:effectLst/>
                <a:latin typeface="Segoe UI Semibold" panose="020B0702040204020203" pitchFamily="34" charset="0"/>
                <a:cs typeface="Segoe UI Semibold" panose="020B0702040204020203" pitchFamily="34" charset="0"/>
              </a:rPr>
              <a:t> </a:t>
            </a:r>
            <a:r>
              <a:rPr lang="en-US" sz="2000" b="0" i="0" dirty="0" err="1">
                <a:solidFill>
                  <a:srgbClr val="9CDCFE"/>
                </a:solidFill>
                <a:effectLst/>
                <a:latin typeface="Segoe UI Semibold" panose="020B0702040204020203" pitchFamily="34" charset="0"/>
                <a:cs typeface="Segoe UI Semibold" panose="020B0702040204020203" pitchFamily="34" charset="0"/>
              </a:rPr>
              <a:t>ScalarString</a:t>
            </a:r>
            <a:r>
              <a:rPr lang="en-US" sz="2000" b="0" i="0" dirty="0">
                <a:solidFill>
                  <a:srgbClr val="569CD6"/>
                </a:solidFill>
                <a:effectLst/>
                <a:latin typeface="Segoe UI Semibold" panose="020B0702040204020203" pitchFamily="34" charset="0"/>
                <a:cs typeface="Segoe UI Semibold" panose="020B0702040204020203" pitchFamily="34" charset="0"/>
              </a:rPr>
              <a:t>=</a:t>
            </a:r>
            <a:r>
              <a:rPr lang="en-US" sz="2000" b="0" i="0" dirty="0">
                <a:solidFill>
                  <a:srgbClr val="CE9178"/>
                </a:solidFill>
                <a:effectLst/>
                <a:latin typeface="Segoe UI Semibold" panose="020B0702040204020203" pitchFamily="34" charset="0"/>
                <a:cs typeface="Segoe UI Semibold" panose="020B0702040204020203" pitchFamily="34" charset="0"/>
              </a:rPr>
              <a:t>"[</a:t>
            </a:r>
            <a:r>
              <a:rPr lang="en-US" sz="2000" b="0" i="0" dirty="0" err="1">
                <a:solidFill>
                  <a:srgbClr val="CE9178"/>
                </a:solidFill>
                <a:effectLst/>
                <a:latin typeface="Segoe UI Semibold" panose="020B0702040204020203" pitchFamily="34" charset="0"/>
                <a:cs typeface="Segoe UI Semibold" panose="020B0702040204020203" pitchFamily="34" charset="0"/>
              </a:rPr>
              <a:t>PropertyMLS</a:t>
            </a:r>
            <a:r>
              <a:rPr lang="en-US" sz="2000" b="0" i="0" dirty="0">
                <a:solidFill>
                  <a:srgbClr val="CE9178"/>
                </a:solidFill>
                <a:effectLst/>
                <a:latin typeface="Segoe UI Semibold" panose="020B0702040204020203" pitchFamily="34" charset="0"/>
                <a:cs typeface="Segoe UI Semibold" panose="020B0702040204020203" pitchFamily="34" charset="0"/>
              </a:rPr>
              <a:t>].[</a:t>
            </a:r>
            <a:r>
              <a:rPr lang="en-US" sz="2000" b="0" i="0" dirty="0" err="1">
                <a:solidFill>
                  <a:srgbClr val="CE9178"/>
                </a:solidFill>
                <a:effectLst/>
                <a:latin typeface="Segoe UI Semibold" panose="020B0702040204020203" pitchFamily="34" charset="0"/>
                <a:cs typeface="Segoe UI Semibold" panose="020B0702040204020203" pitchFamily="34" charset="0"/>
              </a:rPr>
              <a:t>dbo</a:t>
            </a:r>
            <a:r>
              <a:rPr lang="en-US" sz="2000" b="0" i="0" dirty="0">
                <a:solidFill>
                  <a:srgbClr val="CE9178"/>
                </a:solidFill>
                <a:effectLst/>
                <a:latin typeface="Segoe UI Semibold" panose="020B0702040204020203" pitchFamily="34" charset="0"/>
                <a:cs typeface="Segoe UI Semibold" panose="020B0702040204020203" pitchFamily="34" charset="0"/>
              </a:rPr>
              <a:t>].[Property].[</a:t>
            </a:r>
            <a:r>
              <a:rPr lang="en-US" sz="2000" b="0" i="0" dirty="0" err="1">
                <a:solidFill>
                  <a:srgbClr val="CE9178"/>
                </a:solidFill>
                <a:effectLst/>
                <a:latin typeface="Segoe UI Semibold" panose="020B0702040204020203" pitchFamily="34" charset="0"/>
                <a:cs typeface="Segoe UI Semibold" panose="020B0702040204020203" pitchFamily="34" charset="0"/>
              </a:rPr>
              <a:t>AgentId</a:t>
            </a:r>
            <a:r>
              <a:rPr lang="en-US" sz="2000" b="0" i="0" dirty="0">
                <a:solidFill>
                  <a:srgbClr val="CE9178"/>
                </a:solidFill>
                <a:effectLst/>
                <a:latin typeface="Segoe UI Semibold" panose="020B0702040204020203" pitchFamily="34" charset="0"/>
                <a:cs typeface="Segoe UI Semibold" panose="020B0702040204020203" pitchFamily="34" charset="0"/>
              </a:rPr>
              <a:t>]=[@AgentId]"</a:t>
            </a:r>
            <a:r>
              <a:rPr lang="en-US" sz="2000" b="0" i="0" dirty="0">
                <a:solidFill>
                  <a:srgbClr val="569CD6"/>
                </a:solidFill>
                <a:effectLst/>
                <a:latin typeface="Segoe UI Semibold" panose="020B0702040204020203" pitchFamily="34" charset="0"/>
                <a:cs typeface="Segoe UI Semibold" panose="020B0702040204020203" pitchFamily="34" charset="0"/>
              </a:rPr>
              <a:t>&gt;</a:t>
            </a:r>
            <a:r>
              <a:rPr lang="en-US" sz="2000" b="0" i="0" dirty="0">
                <a:solidFill>
                  <a:srgbClr val="E6E6E6"/>
                </a:solidFill>
                <a:effectLst/>
                <a:latin typeface="Segoe UI Semibold" panose="020B0702040204020203" pitchFamily="34" charset="0"/>
                <a:cs typeface="Segoe UI Semibold" panose="020B0702040204020203" pitchFamily="34" charset="0"/>
              </a:rPr>
              <a:t> </a:t>
            </a:r>
          </a:p>
          <a:p>
            <a:r>
              <a:rPr lang="en-US" sz="2000" b="0" i="0" dirty="0">
                <a:solidFill>
                  <a:srgbClr val="569CD6"/>
                </a:solidFill>
                <a:effectLst/>
                <a:latin typeface="Segoe UI Semibold" panose="020B0702040204020203" pitchFamily="34" charset="0"/>
                <a:cs typeface="Segoe UI Semibold" panose="020B0702040204020203" pitchFamily="34" charset="0"/>
              </a:rPr>
              <a:t> &lt;Compare </a:t>
            </a:r>
            <a:r>
              <a:rPr lang="en-US" sz="2000" b="0" i="0" dirty="0" err="1">
                <a:solidFill>
                  <a:srgbClr val="9CDCFE"/>
                </a:solidFill>
                <a:effectLst/>
                <a:latin typeface="Segoe UI Semibold" panose="020B0702040204020203" pitchFamily="34" charset="0"/>
                <a:cs typeface="Segoe UI Semibold" panose="020B0702040204020203" pitchFamily="34" charset="0"/>
              </a:rPr>
              <a:t>CompareOp</a:t>
            </a:r>
            <a:r>
              <a:rPr lang="en-US" sz="2000" b="0" i="0" dirty="0">
                <a:solidFill>
                  <a:srgbClr val="569CD6"/>
                </a:solidFill>
                <a:effectLst/>
                <a:latin typeface="Segoe UI Semibold" panose="020B0702040204020203" pitchFamily="34" charset="0"/>
                <a:cs typeface="Segoe UI Semibold" panose="020B0702040204020203" pitchFamily="34" charset="0"/>
              </a:rPr>
              <a:t>=</a:t>
            </a:r>
            <a:r>
              <a:rPr lang="en-US" sz="2000" b="0" i="0" dirty="0">
                <a:solidFill>
                  <a:srgbClr val="CE9178"/>
                </a:solidFill>
                <a:effectLst/>
                <a:latin typeface="Segoe UI Semibold" panose="020B0702040204020203" pitchFamily="34" charset="0"/>
                <a:cs typeface="Segoe UI Semibold" panose="020B0702040204020203" pitchFamily="34" charset="0"/>
              </a:rPr>
              <a:t>"EQ"</a:t>
            </a:r>
            <a:r>
              <a:rPr lang="en-US" sz="2000" b="0" i="0" dirty="0">
                <a:solidFill>
                  <a:srgbClr val="569CD6"/>
                </a:solidFill>
                <a:effectLst/>
                <a:latin typeface="Segoe UI Semibold" panose="020B0702040204020203" pitchFamily="34" charset="0"/>
                <a:cs typeface="Segoe UI Semibold" panose="020B0702040204020203" pitchFamily="34" charset="0"/>
              </a:rPr>
              <a:t>&gt;</a:t>
            </a:r>
            <a:r>
              <a:rPr lang="en-US" sz="2000" b="0" i="0" dirty="0">
                <a:solidFill>
                  <a:srgbClr val="E6E6E6"/>
                </a:solidFill>
                <a:effectLst/>
                <a:latin typeface="Segoe UI Semibold" panose="020B0702040204020203" pitchFamily="34" charset="0"/>
                <a:cs typeface="Segoe UI Semibold" panose="020B0702040204020203" pitchFamily="34" charset="0"/>
              </a:rPr>
              <a:t> </a:t>
            </a:r>
          </a:p>
          <a:p>
            <a:endParaRPr lang="en-US" sz="2000" dirty="0">
              <a:solidFill>
                <a:srgbClr val="E6E6E6"/>
              </a:solidFill>
              <a:latin typeface="Segoe UI Semibold" panose="020B0702040204020203" pitchFamily="34" charset="0"/>
              <a:cs typeface="Segoe UI Semibold" panose="020B0702040204020203" pitchFamily="34" charset="0"/>
            </a:endParaRPr>
          </a:p>
          <a:p>
            <a:r>
              <a:rPr lang="en-US" sz="2000" b="0" i="0" dirty="0">
                <a:solidFill>
                  <a:srgbClr val="569CD6"/>
                </a:solidFill>
                <a:effectLst/>
                <a:latin typeface="Segoe UI Semibold" panose="020B0702040204020203" pitchFamily="34" charset="0"/>
                <a:cs typeface="Segoe UI Semibold" panose="020B0702040204020203" pitchFamily="34" charset="0"/>
              </a:rPr>
              <a:t> &lt;</a:t>
            </a:r>
            <a:r>
              <a:rPr lang="en-US" sz="2000" b="0" i="0" dirty="0" err="1">
                <a:solidFill>
                  <a:srgbClr val="569CD6"/>
                </a:solidFill>
                <a:effectLst/>
                <a:latin typeface="Segoe UI Semibold" panose="020B0702040204020203" pitchFamily="34" charset="0"/>
                <a:cs typeface="Segoe UI Semibold" panose="020B0702040204020203" pitchFamily="34" charset="0"/>
              </a:rPr>
              <a:t>ScalarOperator</a:t>
            </a:r>
            <a:r>
              <a:rPr lang="en-US" sz="2000" b="0" i="0" dirty="0">
                <a:solidFill>
                  <a:srgbClr val="569CD6"/>
                </a:solidFill>
                <a:effectLst/>
                <a:latin typeface="Segoe UI Semibold" panose="020B0702040204020203" pitchFamily="34" charset="0"/>
                <a:cs typeface="Segoe UI Semibold" panose="020B0702040204020203" pitchFamily="34" charset="0"/>
              </a:rPr>
              <a:t>&gt;</a:t>
            </a:r>
            <a:r>
              <a:rPr lang="en-US" sz="2000" b="0" i="0" dirty="0">
                <a:solidFill>
                  <a:srgbClr val="E6E6E6"/>
                </a:solidFill>
                <a:effectLst/>
                <a:latin typeface="Segoe UI Semibold" panose="020B0702040204020203" pitchFamily="34" charset="0"/>
                <a:cs typeface="Segoe UI Semibold" panose="020B0702040204020203" pitchFamily="34" charset="0"/>
              </a:rPr>
              <a:t> </a:t>
            </a:r>
          </a:p>
          <a:p>
            <a:r>
              <a:rPr lang="en-US" sz="2000" b="0" i="0" dirty="0">
                <a:solidFill>
                  <a:srgbClr val="569CD6"/>
                </a:solidFill>
                <a:effectLst/>
                <a:latin typeface="Segoe UI Semibold" panose="020B0702040204020203" pitchFamily="34" charset="0"/>
                <a:cs typeface="Segoe UI Semibold" panose="020B0702040204020203" pitchFamily="34" charset="0"/>
              </a:rPr>
              <a:t> &lt;Identifier&gt;</a:t>
            </a:r>
            <a:r>
              <a:rPr lang="en-US" sz="2000" b="0" i="0" dirty="0">
                <a:solidFill>
                  <a:srgbClr val="E6E6E6"/>
                </a:solidFill>
                <a:effectLst/>
                <a:latin typeface="Segoe UI Semibold" panose="020B0702040204020203" pitchFamily="34" charset="0"/>
                <a:cs typeface="Segoe UI Semibold" panose="020B0702040204020203" pitchFamily="34" charset="0"/>
              </a:rPr>
              <a:t> </a:t>
            </a:r>
            <a:r>
              <a:rPr lang="en-US" sz="2000" b="0" i="0" dirty="0">
                <a:solidFill>
                  <a:srgbClr val="569CD6"/>
                </a:solidFill>
                <a:effectLst/>
                <a:latin typeface="Segoe UI Semibold" panose="020B0702040204020203" pitchFamily="34" charset="0"/>
                <a:cs typeface="Segoe UI Semibold" panose="020B0702040204020203" pitchFamily="34" charset="0"/>
              </a:rPr>
              <a:t>&lt;</a:t>
            </a:r>
            <a:r>
              <a:rPr lang="en-US" sz="2000" b="0" i="0" dirty="0" err="1">
                <a:solidFill>
                  <a:srgbClr val="569CD6"/>
                </a:solidFill>
                <a:effectLst/>
                <a:latin typeface="Segoe UI Semibold" panose="020B0702040204020203" pitchFamily="34" charset="0"/>
                <a:cs typeface="Segoe UI Semibold" panose="020B0702040204020203" pitchFamily="34" charset="0"/>
              </a:rPr>
              <a:t>ColumnReference</a:t>
            </a:r>
            <a:r>
              <a:rPr lang="en-US" sz="2000" b="0" i="0" dirty="0">
                <a:solidFill>
                  <a:srgbClr val="569CD6"/>
                </a:solidFill>
                <a:effectLst/>
                <a:latin typeface="Segoe UI Semibold" panose="020B0702040204020203" pitchFamily="34" charset="0"/>
                <a:cs typeface="Segoe UI Semibold" panose="020B0702040204020203" pitchFamily="34" charset="0"/>
              </a:rPr>
              <a:t> </a:t>
            </a:r>
            <a:r>
              <a:rPr lang="en-US" sz="2000" b="0" i="0" dirty="0">
                <a:solidFill>
                  <a:srgbClr val="9CDCFE"/>
                </a:solidFill>
                <a:effectLst/>
                <a:latin typeface="Segoe UI Semibold" panose="020B0702040204020203" pitchFamily="34" charset="0"/>
                <a:cs typeface="Segoe UI Semibold" panose="020B0702040204020203" pitchFamily="34" charset="0"/>
              </a:rPr>
              <a:t>Database</a:t>
            </a:r>
            <a:r>
              <a:rPr lang="en-US" sz="2000" b="0" i="0" dirty="0">
                <a:solidFill>
                  <a:srgbClr val="569CD6"/>
                </a:solidFill>
                <a:effectLst/>
                <a:latin typeface="Segoe UI Semibold" panose="020B0702040204020203" pitchFamily="34" charset="0"/>
                <a:cs typeface="Segoe UI Semibold" panose="020B0702040204020203" pitchFamily="34" charset="0"/>
              </a:rPr>
              <a:t>=</a:t>
            </a:r>
            <a:r>
              <a:rPr lang="en-US" sz="2000" b="0" i="0" dirty="0">
                <a:solidFill>
                  <a:srgbClr val="CE9178"/>
                </a:solidFill>
                <a:effectLst/>
                <a:latin typeface="Segoe UI Semibold" panose="020B0702040204020203" pitchFamily="34" charset="0"/>
                <a:cs typeface="Segoe UI Semibold" panose="020B0702040204020203" pitchFamily="34" charset="0"/>
              </a:rPr>
              <a:t>"[</a:t>
            </a:r>
            <a:r>
              <a:rPr lang="en-US" sz="2000" b="0" i="0" dirty="0" err="1">
                <a:solidFill>
                  <a:srgbClr val="CE9178"/>
                </a:solidFill>
                <a:effectLst/>
                <a:latin typeface="Segoe UI Semibold" panose="020B0702040204020203" pitchFamily="34" charset="0"/>
                <a:cs typeface="Segoe UI Semibold" panose="020B0702040204020203" pitchFamily="34" charset="0"/>
              </a:rPr>
              <a:t>PropertyMLS</a:t>
            </a:r>
            <a:r>
              <a:rPr lang="en-US" sz="2000" b="0" i="0" dirty="0">
                <a:solidFill>
                  <a:srgbClr val="CE9178"/>
                </a:solidFill>
                <a:effectLst/>
                <a:latin typeface="Segoe UI Semibold" panose="020B0702040204020203" pitchFamily="34" charset="0"/>
                <a:cs typeface="Segoe UI Semibold" panose="020B0702040204020203" pitchFamily="34" charset="0"/>
              </a:rPr>
              <a:t>]"</a:t>
            </a:r>
            <a:r>
              <a:rPr lang="en-US" sz="2000" b="0" i="0" dirty="0">
                <a:solidFill>
                  <a:srgbClr val="569CD6"/>
                </a:solidFill>
                <a:effectLst/>
                <a:latin typeface="Segoe UI Semibold" panose="020B0702040204020203" pitchFamily="34" charset="0"/>
                <a:cs typeface="Segoe UI Semibold" panose="020B0702040204020203" pitchFamily="34" charset="0"/>
              </a:rPr>
              <a:t> </a:t>
            </a:r>
            <a:r>
              <a:rPr lang="en-US" sz="2000" b="0" i="0" dirty="0">
                <a:solidFill>
                  <a:srgbClr val="9CDCFE"/>
                </a:solidFill>
                <a:effectLst/>
                <a:latin typeface="Segoe UI Semibold" panose="020B0702040204020203" pitchFamily="34" charset="0"/>
                <a:cs typeface="Segoe UI Semibold" panose="020B0702040204020203" pitchFamily="34" charset="0"/>
              </a:rPr>
              <a:t>Schema</a:t>
            </a:r>
            <a:r>
              <a:rPr lang="en-US" sz="2000" b="0" i="0" dirty="0">
                <a:solidFill>
                  <a:srgbClr val="569CD6"/>
                </a:solidFill>
                <a:effectLst/>
                <a:latin typeface="Segoe UI Semibold" panose="020B0702040204020203" pitchFamily="34" charset="0"/>
                <a:cs typeface="Segoe UI Semibold" panose="020B0702040204020203" pitchFamily="34" charset="0"/>
              </a:rPr>
              <a:t>=</a:t>
            </a:r>
            <a:r>
              <a:rPr lang="en-US" sz="2000" b="0" i="0" dirty="0">
                <a:solidFill>
                  <a:srgbClr val="CE9178"/>
                </a:solidFill>
                <a:effectLst/>
                <a:latin typeface="Segoe UI Semibold" panose="020B0702040204020203" pitchFamily="34" charset="0"/>
                <a:cs typeface="Segoe UI Semibold" panose="020B0702040204020203" pitchFamily="34" charset="0"/>
              </a:rPr>
              <a:t>"[</a:t>
            </a:r>
            <a:r>
              <a:rPr lang="en-US" sz="2000" b="0" i="0" dirty="0" err="1">
                <a:solidFill>
                  <a:srgbClr val="CE9178"/>
                </a:solidFill>
                <a:effectLst/>
                <a:latin typeface="Segoe UI Semibold" panose="020B0702040204020203" pitchFamily="34" charset="0"/>
                <a:cs typeface="Segoe UI Semibold" panose="020B0702040204020203" pitchFamily="34" charset="0"/>
              </a:rPr>
              <a:t>dbo</a:t>
            </a:r>
            <a:r>
              <a:rPr lang="en-US" sz="2000" b="0" i="0" dirty="0">
                <a:solidFill>
                  <a:srgbClr val="CE9178"/>
                </a:solidFill>
                <a:effectLst/>
                <a:latin typeface="Segoe UI Semibold" panose="020B0702040204020203" pitchFamily="34" charset="0"/>
                <a:cs typeface="Segoe UI Semibold" panose="020B0702040204020203" pitchFamily="34" charset="0"/>
              </a:rPr>
              <a:t>]"</a:t>
            </a:r>
            <a:r>
              <a:rPr lang="en-US" sz="2000" b="0" i="0" dirty="0">
                <a:solidFill>
                  <a:srgbClr val="569CD6"/>
                </a:solidFill>
                <a:effectLst/>
                <a:latin typeface="Segoe UI Semibold" panose="020B0702040204020203" pitchFamily="34" charset="0"/>
                <a:cs typeface="Segoe UI Semibold" panose="020B0702040204020203" pitchFamily="34" charset="0"/>
              </a:rPr>
              <a:t> </a:t>
            </a:r>
            <a:r>
              <a:rPr lang="en-US" sz="2000" b="0" i="0" dirty="0">
                <a:solidFill>
                  <a:srgbClr val="9CDCFE"/>
                </a:solidFill>
                <a:effectLst/>
                <a:latin typeface="Segoe UI Semibold" panose="020B0702040204020203" pitchFamily="34" charset="0"/>
                <a:cs typeface="Segoe UI Semibold" panose="020B0702040204020203" pitchFamily="34" charset="0"/>
              </a:rPr>
              <a:t>Table</a:t>
            </a:r>
            <a:r>
              <a:rPr lang="en-US" sz="2000" b="0" i="0" dirty="0">
                <a:solidFill>
                  <a:srgbClr val="569CD6"/>
                </a:solidFill>
                <a:effectLst/>
                <a:latin typeface="Segoe UI Semibold" panose="020B0702040204020203" pitchFamily="34" charset="0"/>
                <a:cs typeface="Segoe UI Semibold" panose="020B0702040204020203" pitchFamily="34" charset="0"/>
              </a:rPr>
              <a:t>=</a:t>
            </a:r>
            <a:r>
              <a:rPr lang="en-US" sz="2000" b="0" i="0" dirty="0">
                <a:solidFill>
                  <a:srgbClr val="CE9178"/>
                </a:solidFill>
                <a:effectLst/>
                <a:latin typeface="Segoe UI Semibold" panose="020B0702040204020203" pitchFamily="34" charset="0"/>
                <a:cs typeface="Segoe UI Semibold" panose="020B0702040204020203" pitchFamily="34" charset="0"/>
              </a:rPr>
              <a:t>"[Property]"</a:t>
            </a:r>
            <a:r>
              <a:rPr lang="en-US" sz="2000" b="0" i="0" dirty="0">
                <a:solidFill>
                  <a:srgbClr val="569CD6"/>
                </a:solidFill>
                <a:effectLst/>
                <a:latin typeface="Segoe UI Semibold" panose="020B0702040204020203" pitchFamily="34" charset="0"/>
                <a:cs typeface="Segoe UI Semibold" panose="020B0702040204020203" pitchFamily="34" charset="0"/>
              </a:rPr>
              <a:t>  	</a:t>
            </a:r>
            <a:r>
              <a:rPr lang="en-US" sz="2000" b="0" i="0" dirty="0">
                <a:solidFill>
                  <a:srgbClr val="9CDCFE"/>
                </a:solidFill>
                <a:effectLst/>
                <a:latin typeface="Segoe UI Semibold" panose="020B0702040204020203" pitchFamily="34" charset="0"/>
                <a:cs typeface="Segoe UI Semibold" panose="020B0702040204020203" pitchFamily="34" charset="0"/>
              </a:rPr>
              <a:t>Column</a:t>
            </a:r>
            <a:r>
              <a:rPr lang="en-US" sz="2000" b="0" i="0" dirty="0">
                <a:solidFill>
                  <a:srgbClr val="569CD6"/>
                </a:solidFill>
                <a:effectLst/>
                <a:latin typeface="Segoe UI Semibold" panose="020B0702040204020203" pitchFamily="34" charset="0"/>
                <a:cs typeface="Segoe UI Semibold" panose="020B0702040204020203" pitchFamily="34" charset="0"/>
              </a:rPr>
              <a:t>=</a:t>
            </a:r>
            <a:r>
              <a:rPr lang="en-US" sz="2000" b="0" i="0" dirty="0">
                <a:solidFill>
                  <a:srgbClr val="CE9178"/>
                </a:solidFill>
                <a:effectLst/>
                <a:latin typeface="Segoe UI Semibold" panose="020B0702040204020203" pitchFamily="34" charset="0"/>
                <a:cs typeface="Segoe UI Semibold" panose="020B0702040204020203" pitchFamily="34" charset="0"/>
              </a:rPr>
              <a:t>"</a:t>
            </a:r>
            <a:r>
              <a:rPr lang="en-US" sz="2000" b="0" i="0" dirty="0" err="1">
                <a:solidFill>
                  <a:srgbClr val="CE9178"/>
                </a:solidFill>
                <a:effectLst/>
                <a:latin typeface="Segoe UI Semibold" panose="020B0702040204020203" pitchFamily="34" charset="0"/>
                <a:cs typeface="Segoe UI Semibold" panose="020B0702040204020203" pitchFamily="34" charset="0"/>
              </a:rPr>
              <a:t>AgentId</a:t>
            </a:r>
            <a:r>
              <a:rPr lang="en-US" sz="2000" b="0" i="0" dirty="0">
                <a:solidFill>
                  <a:srgbClr val="CE9178"/>
                </a:solidFill>
                <a:effectLst/>
                <a:latin typeface="Segoe UI Semibold" panose="020B0702040204020203" pitchFamily="34" charset="0"/>
                <a:cs typeface="Segoe UI Semibold" panose="020B0702040204020203" pitchFamily="34" charset="0"/>
              </a:rPr>
              <a:t>"</a:t>
            </a:r>
            <a:r>
              <a:rPr lang="en-US" sz="2000" b="0" i="0" dirty="0">
                <a:solidFill>
                  <a:srgbClr val="569CD6"/>
                </a:solidFill>
                <a:effectLst/>
                <a:latin typeface="Segoe UI Semibold" panose="020B0702040204020203" pitchFamily="34" charset="0"/>
                <a:cs typeface="Segoe UI Semibold" panose="020B0702040204020203" pitchFamily="34" charset="0"/>
              </a:rPr>
              <a:t> /&gt;</a:t>
            </a:r>
            <a:r>
              <a:rPr lang="en-US" sz="2000" b="0" i="0" dirty="0">
                <a:solidFill>
                  <a:srgbClr val="E6E6E6"/>
                </a:solidFill>
                <a:effectLst/>
                <a:latin typeface="Segoe UI Semibold" panose="020B0702040204020203" pitchFamily="34" charset="0"/>
                <a:cs typeface="Segoe UI Semibold" panose="020B0702040204020203" pitchFamily="34" charset="0"/>
              </a:rPr>
              <a:t> </a:t>
            </a:r>
            <a:r>
              <a:rPr lang="en-US" sz="2000" b="0" i="0" dirty="0">
                <a:solidFill>
                  <a:srgbClr val="569CD6"/>
                </a:solidFill>
                <a:effectLst/>
                <a:latin typeface="Segoe UI Semibold" panose="020B0702040204020203" pitchFamily="34" charset="0"/>
                <a:cs typeface="Segoe UI Semibold" panose="020B0702040204020203" pitchFamily="34" charset="0"/>
              </a:rPr>
              <a:t>&lt;/Identifier&gt;</a:t>
            </a:r>
            <a:r>
              <a:rPr lang="en-US" sz="2000" b="0" i="0" dirty="0">
                <a:solidFill>
                  <a:srgbClr val="E6E6E6"/>
                </a:solidFill>
                <a:effectLst/>
                <a:latin typeface="Segoe UI Semibold" panose="020B0702040204020203" pitchFamily="34" charset="0"/>
                <a:cs typeface="Segoe UI Semibold" panose="020B0702040204020203" pitchFamily="34" charset="0"/>
              </a:rPr>
              <a:t> </a:t>
            </a:r>
            <a:r>
              <a:rPr lang="en-US" sz="2000" b="0" i="0" dirty="0">
                <a:solidFill>
                  <a:srgbClr val="569CD6"/>
                </a:solidFill>
                <a:effectLst/>
                <a:latin typeface="Segoe UI Semibold" panose="020B0702040204020203" pitchFamily="34" charset="0"/>
                <a:cs typeface="Segoe UI Semibold" panose="020B0702040204020203" pitchFamily="34" charset="0"/>
              </a:rPr>
              <a:t>&lt;/</a:t>
            </a:r>
            <a:r>
              <a:rPr lang="en-US" sz="2000" b="0" i="0" dirty="0" err="1">
                <a:solidFill>
                  <a:srgbClr val="569CD6"/>
                </a:solidFill>
                <a:effectLst/>
                <a:latin typeface="Segoe UI Semibold" panose="020B0702040204020203" pitchFamily="34" charset="0"/>
                <a:cs typeface="Segoe UI Semibold" panose="020B0702040204020203" pitchFamily="34" charset="0"/>
              </a:rPr>
              <a:t>ScalarOperator</a:t>
            </a:r>
            <a:r>
              <a:rPr lang="en-US" sz="2000" b="0" i="0" dirty="0">
                <a:solidFill>
                  <a:srgbClr val="569CD6"/>
                </a:solidFill>
                <a:effectLst/>
                <a:latin typeface="Segoe UI Semibold" panose="020B0702040204020203" pitchFamily="34" charset="0"/>
                <a:cs typeface="Segoe UI Semibold" panose="020B0702040204020203" pitchFamily="34" charset="0"/>
              </a:rPr>
              <a:t>&gt;</a:t>
            </a:r>
            <a:r>
              <a:rPr lang="en-US" sz="2000" b="0" i="0" dirty="0">
                <a:solidFill>
                  <a:srgbClr val="E6E6E6"/>
                </a:solidFill>
                <a:effectLst/>
                <a:latin typeface="Segoe UI Semibold" panose="020B0702040204020203" pitchFamily="34" charset="0"/>
                <a:cs typeface="Segoe UI Semibold" panose="020B0702040204020203" pitchFamily="34" charset="0"/>
              </a:rPr>
              <a:t> </a:t>
            </a:r>
          </a:p>
          <a:p>
            <a:endParaRPr lang="en-US" sz="2000" b="0" i="0" dirty="0">
              <a:solidFill>
                <a:srgbClr val="E6E6E6"/>
              </a:solidFill>
              <a:effectLst/>
              <a:latin typeface="Segoe UI Semibold" panose="020B0702040204020203" pitchFamily="34" charset="0"/>
              <a:cs typeface="Segoe UI Semibold" panose="020B0702040204020203" pitchFamily="34" charset="0"/>
            </a:endParaRPr>
          </a:p>
          <a:p>
            <a:r>
              <a:rPr lang="en-US" sz="2000" b="0" i="0" dirty="0">
                <a:solidFill>
                  <a:srgbClr val="569CD6"/>
                </a:solidFill>
                <a:effectLst/>
                <a:latin typeface="Segoe UI Semibold" panose="020B0702040204020203" pitchFamily="34" charset="0"/>
                <a:cs typeface="Segoe UI Semibold" panose="020B0702040204020203" pitchFamily="34" charset="0"/>
              </a:rPr>
              <a:t> &lt;</a:t>
            </a:r>
            <a:r>
              <a:rPr lang="en-US" sz="2000" b="0" i="0" dirty="0" err="1">
                <a:solidFill>
                  <a:srgbClr val="569CD6"/>
                </a:solidFill>
                <a:effectLst/>
                <a:latin typeface="Segoe UI Semibold" panose="020B0702040204020203" pitchFamily="34" charset="0"/>
                <a:cs typeface="Segoe UI Semibold" panose="020B0702040204020203" pitchFamily="34" charset="0"/>
              </a:rPr>
              <a:t>ScalarOperator</a:t>
            </a:r>
            <a:r>
              <a:rPr lang="en-US" sz="2000" b="0" i="0" dirty="0">
                <a:solidFill>
                  <a:srgbClr val="569CD6"/>
                </a:solidFill>
                <a:effectLst/>
                <a:latin typeface="Segoe UI Semibold" panose="020B0702040204020203" pitchFamily="34" charset="0"/>
                <a:cs typeface="Segoe UI Semibold" panose="020B0702040204020203" pitchFamily="34" charset="0"/>
              </a:rPr>
              <a:t>&gt;</a:t>
            </a:r>
            <a:r>
              <a:rPr lang="en-US" sz="2000" b="0" i="0" dirty="0">
                <a:solidFill>
                  <a:srgbClr val="E6E6E6"/>
                </a:solidFill>
                <a:effectLst/>
                <a:latin typeface="Segoe UI Semibold" panose="020B0702040204020203" pitchFamily="34" charset="0"/>
                <a:cs typeface="Segoe UI Semibold" panose="020B0702040204020203" pitchFamily="34" charset="0"/>
              </a:rPr>
              <a:t> </a:t>
            </a:r>
            <a:r>
              <a:rPr lang="en-US" sz="2000" b="0" i="0" dirty="0">
                <a:solidFill>
                  <a:srgbClr val="569CD6"/>
                </a:solidFill>
                <a:effectLst/>
                <a:latin typeface="Segoe UI Semibold" panose="020B0702040204020203" pitchFamily="34" charset="0"/>
                <a:cs typeface="Segoe UI Semibold" panose="020B0702040204020203" pitchFamily="34" charset="0"/>
              </a:rPr>
              <a:t>&lt;Identifier&gt;</a:t>
            </a:r>
            <a:r>
              <a:rPr lang="en-US" sz="2000" b="0" i="0" dirty="0">
                <a:solidFill>
                  <a:srgbClr val="E6E6E6"/>
                </a:solidFill>
                <a:effectLst/>
                <a:latin typeface="Segoe UI Semibold" panose="020B0702040204020203" pitchFamily="34" charset="0"/>
                <a:cs typeface="Segoe UI Semibold" panose="020B0702040204020203" pitchFamily="34" charset="0"/>
              </a:rPr>
              <a:t> </a:t>
            </a:r>
            <a:r>
              <a:rPr lang="en-US" sz="2000" b="0" i="0" dirty="0">
                <a:solidFill>
                  <a:srgbClr val="569CD6"/>
                </a:solidFill>
                <a:effectLst/>
                <a:latin typeface="Segoe UI Semibold" panose="020B0702040204020203" pitchFamily="34" charset="0"/>
                <a:cs typeface="Segoe UI Semibold" panose="020B0702040204020203" pitchFamily="34" charset="0"/>
              </a:rPr>
              <a:t>&lt;</a:t>
            </a:r>
            <a:r>
              <a:rPr lang="en-US" sz="2000" b="0" i="0" dirty="0" err="1">
                <a:solidFill>
                  <a:srgbClr val="569CD6"/>
                </a:solidFill>
                <a:effectLst/>
                <a:latin typeface="Segoe UI Semibold" panose="020B0702040204020203" pitchFamily="34" charset="0"/>
                <a:cs typeface="Segoe UI Semibold" panose="020B0702040204020203" pitchFamily="34" charset="0"/>
              </a:rPr>
              <a:t>ColumnReference</a:t>
            </a:r>
            <a:r>
              <a:rPr lang="en-US" sz="2000" b="0" i="0" dirty="0">
                <a:solidFill>
                  <a:srgbClr val="569CD6"/>
                </a:solidFill>
                <a:effectLst/>
                <a:latin typeface="Segoe UI Semibold" panose="020B0702040204020203" pitchFamily="34" charset="0"/>
                <a:cs typeface="Segoe UI Semibold" panose="020B0702040204020203" pitchFamily="34" charset="0"/>
              </a:rPr>
              <a:t> </a:t>
            </a:r>
            <a:r>
              <a:rPr lang="en-US" sz="2000" b="0" i="0" dirty="0">
                <a:solidFill>
                  <a:srgbClr val="9CDCFE"/>
                </a:solidFill>
                <a:effectLst/>
                <a:latin typeface="Segoe UI Semibold" panose="020B0702040204020203" pitchFamily="34" charset="0"/>
                <a:cs typeface="Segoe UI Semibold" panose="020B0702040204020203" pitchFamily="34" charset="0"/>
              </a:rPr>
              <a:t>Column</a:t>
            </a:r>
            <a:r>
              <a:rPr lang="en-US" sz="2000" b="0" i="0" dirty="0">
                <a:solidFill>
                  <a:srgbClr val="569CD6"/>
                </a:solidFill>
                <a:effectLst/>
                <a:latin typeface="Segoe UI Semibold" panose="020B0702040204020203" pitchFamily="34" charset="0"/>
                <a:cs typeface="Segoe UI Semibold" panose="020B0702040204020203" pitchFamily="34" charset="0"/>
              </a:rPr>
              <a:t>=</a:t>
            </a:r>
            <a:r>
              <a:rPr lang="en-US" sz="2000" b="0" i="0" dirty="0">
                <a:solidFill>
                  <a:srgbClr val="CE9178"/>
                </a:solidFill>
                <a:effectLst/>
                <a:latin typeface="Segoe UI Semibold" panose="020B0702040204020203" pitchFamily="34" charset="0"/>
                <a:cs typeface="Segoe UI Semibold" panose="020B0702040204020203" pitchFamily="34" charset="0"/>
              </a:rPr>
              <a:t>"@</a:t>
            </a:r>
            <a:r>
              <a:rPr lang="en-US" sz="2000" b="0" i="0" dirty="0" err="1">
                <a:solidFill>
                  <a:srgbClr val="CE9178"/>
                </a:solidFill>
                <a:effectLst/>
                <a:latin typeface="Segoe UI Semibold" panose="020B0702040204020203" pitchFamily="34" charset="0"/>
                <a:cs typeface="Segoe UI Semibold" panose="020B0702040204020203" pitchFamily="34" charset="0"/>
              </a:rPr>
              <a:t>AgentId</a:t>
            </a:r>
            <a:r>
              <a:rPr lang="en-US" sz="2000" b="0" i="0" dirty="0">
                <a:solidFill>
                  <a:srgbClr val="CE9178"/>
                </a:solidFill>
                <a:effectLst/>
                <a:latin typeface="Segoe UI Semibold" panose="020B0702040204020203" pitchFamily="34" charset="0"/>
                <a:cs typeface="Segoe UI Semibold" panose="020B0702040204020203" pitchFamily="34" charset="0"/>
              </a:rPr>
              <a:t>"</a:t>
            </a:r>
            <a:r>
              <a:rPr lang="en-US" sz="2000" b="0" i="0" dirty="0">
                <a:solidFill>
                  <a:srgbClr val="569CD6"/>
                </a:solidFill>
                <a:effectLst/>
                <a:latin typeface="Segoe UI Semibold" panose="020B0702040204020203" pitchFamily="34" charset="0"/>
                <a:cs typeface="Segoe UI Semibold" panose="020B0702040204020203" pitchFamily="34" charset="0"/>
              </a:rPr>
              <a:t> /&gt;</a:t>
            </a:r>
          </a:p>
          <a:p>
            <a:endParaRPr lang="en-US" sz="2000" b="0" i="0" dirty="0">
              <a:solidFill>
                <a:srgbClr val="569CD6"/>
              </a:solidFill>
              <a:effectLst/>
              <a:latin typeface="Segoe UI Semibold" panose="020B0702040204020203" pitchFamily="34" charset="0"/>
              <a:cs typeface="Segoe UI Semibold" panose="020B0702040204020203" pitchFamily="34" charset="0"/>
            </a:endParaRPr>
          </a:p>
          <a:p>
            <a:r>
              <a:rPr lang="en-US" sz="2000" b="0" i="0" dirty="0">
                <a:solidFill>
                  <a:srgbClr val="E6E6E6"/>
                </a:solidFill>
                <a:effectLst/>
                <a:latin typeface="Segoe UI Semibold" panose="020B0702040204020203" pitchFamily="34" charset="0"/>
                <a:cs typeface="Segoe UI Semibold" panose="020B0702040204020203" pitchFamily="34" charset="0"/>
              </a:rPr>
              <a:t> </a:t>
            </a:r>
            <a:r>
              <a:rPr lang="en-US" sz="2000" b="0" i="0" dirty="0">
                <a:solidFill>
                  <a:srgbClr val="569CD6"/>
                </a:solidFill>
                <a:effectLst/>
                <a:latin typeface="Segoe UI Semibold" panose="020B0702040204020203" pitchFamily="34" charset="0"/>
                <a:cs typeface="Segoe UI Semibold" panose="020B0702040204020203" pitchFamily="34" charset="0"/>
              </a:rPr>
              <a:t>&lt;/Identifier&gt;</a:t>
            </a:r>
            <a:r>
              <a:rPr lang="en-US" sz="2000" b="0" i="0" dirty="0">
                <a:solidFill>
                  <a:srgbClr val="E6E6E6"/>
                </a:solidFill>
                <a:effectLst/>
                <a:latin typeface="Segoe UI Semibold" panose="020B0702040204020203" pitchFamily="34" charset="0"/>
                <a:cs typeface="Segoe UI Semibold" panose="020B0702040204020203" pitchFamily="34" charset="0"/>
              </a:rPr>
              <a:t> </a:t>
            </a:r>
            <a:r>
              <a:rPr lang="en-US" sz="2000" b="0" i="0" dirty="0">
                <a:solidFill>
                  <a:srgbClr val="569CD6"/>
                </a:solidFill>
                <a:effectLst/>
                <a:latin typeface="Segoe UI Semibold" panose="020B0702040204020203" pitchFamily="34" charset="0"/>
                <a:cs typeface="Segoe UI Semibold" panose="020B0702040204020203" pitchFamily="34" charset="0"/>
              </a:rPr>
              <a:t>&lt;/</a:t>
            </a:r>
            <a:r>
              <a:rPr lang="en-US" sz="2000" b="0" i="0" dirty="0" err="1">
                <a:solidFill>
                  <a:srgbClr val="569CD6"/>
                </a:solidFill>
                <a:effectLst/>
                <a:latin typeface="Segoe UI Semibold" panose="020B0702040204020203" pitchFamily="34" charset="0"/>
                <a:cs typeface="Segoe UI Semibold" panose="020B0702040204020203" pitchFamily="34" charset="0"/>
              </a:rPr>
              <a:t>ScalarOperator</a:t>
            </a:r>
            <a:r>
              <a:rPr lang="en-US" sz="2000" b="0" i="0" dirty="0">
                <a:solidFill>
                  <a:srgbClr val="569CD6"/>
                </a:solidFill>
                <a:effectLst/>
                <a:latin typeface="Segoe UI Semibold" panose="020B0702040204020203" pitchFamily="34" charset="0"/>
                <a:cs typeface="Segoe UI Semibold" panose="020B0702040204020203" pitchFamily="34" charset="0"/>
              </a:rPr>
              <a:t>&gt;</a:t>
            </a:r>
            <a:r>
              <a:rPr lang="en-US" sz="2000" b="0" i="0" dirty="0">
                <a:solidFill>
                  <a:srgbClr val="E6E6E6"/>
                </a:solidFill>
                <a:effectLst/>
                <a:latin typeface="Segoe UI Semibold" panose="020B0702040204020203" pitchFamily="34" charset="0"/>
                <a:cs typeface="Segoe UI Semibold" panose="020B0702040204020203" pitchFamily="34" charset="0"/>
              </a:rPr>
              <a:t> </a:t>
            </a:r>
            <a:r>
              <a:rPr lang="en-US" sz="2000" b="0" i="0" dirty="0">
                <a:solidFill>
                  <a:srgbClr val="569CD6"/>
                </a:solidFill>
                <a:effectLst/>
                <a:latin typeface="Segoe UI Semibold" panose="020B0702040204020203" pitchFamily="34" charset="0"/>
                <a:cs typeface="Segoe UI Semibold" panose="020B0702040204020203" pitchFamily="34" charset="0"/>
              </a:rPr>
              <a:t>&lt;/Compare&gt;</a:t>
            </a:r>
            <a:r>
              <a:rPr lang="en-US" sz="2000" b="0" i="0" dirty="0">
                <a:solidFill>
                  <a:srgbClr val="E6E6E6"/>
                </a:solidFill>
                <a:effectLst/>
                <a:latin typeface="Segoe UI Semibold" panose="020B0702040204020203" pitchFamily="34" charset="0"/>
                <a:cs typeface="Segoe UI Semibold" panose="020B0702040204020203" pitchFamily="34" charset="0"/>
              </a:rPr>
              <a:t> </a:t>
            </a:r>
            <a:r>
              <a:rPr lang="en-US" sz="2000" b="0" i="0" dirty="0">
                <a:solidFill>
                  <a:srgbClr val="569CD6"/>
                </a:solidFill>
                <a:effectLst/>
                <a:latin typeface="Segoe UI Semibold" panose="020B0702040204020203" pitchFamily="34" charset="0"/>
                <a:cs typeface="Segoe UI Semibold" panose="020B0702040204020203" pitchFamily="34" charset="0"/>
              </a:rPr>
              <a:t>&lt;/</a:t>
            </a:r>
            <a:r>
              <a:rPr lang="en-US" sz="2000" b="0" i="0" dirty="0" err="1">
                <a:solidFill>
                  <a:srgbClr val="569CD6"/>
                </a:solidFill>
                <a:effectLst/>
                <a:latin typeface="Segoe UI Semibold" panose="020B0702040204020203" pitchFamily="34" charset="0"/>
                <a:cs typeface="Segoe UI Semibold" panose="020B0702040204020203" pitchFamily="34" charset="0"/>
              </a:rPr>
              <a:t>ScalarOperator</a:t>
            </a:r>
            <a:r>
              <a:rPr lang="en-US" sz="2000" b="0" i="0" dirty="0">
                <a:solidFill>
                  <a:srgbClr val="569CD6"/>
                </a:solidFill>
                <a:effectLst/>
                <a:latin typeface="Segoe UI Semibold" panose="020B0702040204020203" pitchFamily="34" charset="0"/>
                <a:cs typeface="Segoe UI Semibold" panose="020B0702040204020203" pitchFamily="34" charset="0"/>
              </a:rPr>
              <a:t>&gt;</a:t>
            </a:r>
            <a:r>
              <a:rPr lang="en-US" sz="2000" b="0" i="0" dirty="0">
                <a:solidFill>
                  <a:srgbClr val="E6E6E6"/>
                </a:solidFill>
                <a:effectLst/>
                <a:latin typeface="Segoe UI Semibold" panose="020B0702040204020203" pitchFamily="34" charset="0"/>
                <a:cs typeface="Segoe UI Semibold" panose="020B0702040204020203" pitchFamily="34" charset="0"/>
              </a:rPr>
              <a:t> </a:t>
            </a:r>
            <a:r>
              <a:rPr lang="en-US" sz="2000" b="0" i="0" dirty="0">
                <a:solidFill>
                  <a:srgbClr val="569CD6"/>
                </a:solidFill>
                <a:effectLst/>
                <a:latin typeface="Segoe UI Semibold" panose="020B0702040204020203" pitchFamily="34" charset="0"/>
                <a:cs typeface="Segoe UI Semibold" panose="020B0702040204020203" pitchFamily="34" charset="0"/>
              </a:rPr>
              <a:t>&lt;/Predicate&gt;</a:t>
            </a:r>
            <a:r>
              <a:rPr lang="en-US" sz="2000" b="0" i="0" dirty="0">
                <a:solidFill>
                  <a:srgbClr val="E6E6E6"/>
                </a:solidFill>
                <a:effectLst/>
                <a:latin typeface="Segoe UI Semibold" panose="020B0702040204020203" pitchFamily="34" charset="0"/>
                <a:cs typeface="Segoe UI Semibold" panose="020B0702040204020203" pitchFamily="34" charset="0"/>
              </a:rPr>
              <a:t>     </a:t>
            </a:r>
            <a:r>
              <a:rPr lang="en-US" sz="2000" b="0" i="0" dirty="0">
                <a:solidFill>
                  <a:srgbClr val="569CD6"/>
                </a:solidFill>
                <a:effectLst/>
                <a:latin typeface="Segoe UI Semibold" panose="020B0702040204020203" pitchFamily="34" charset="0"/>
                <a:cs typeface="Segoe UI Semibold" panose="020B0702040204020203" pitchFamily="34" charset="0"/>
              </a:rPr>
              <a:t>&lt;/</a:t>
            </a:r>
            <a:r>
              <a:rPr lang="en-US" sz="2000" b="0" i="0" dirty="0" err="1">
                <a:solidFill>
                  <a:srgbClr val="569CD6"/>
                </a:solidFill>
                <a:effectLst/>
                <a:latin typeface="Segoe UI Semibold" panose="020B0702040204020203" pitchFamily="34" charset="0"/>
                <a:cs typeface="Segoe UI Semibold" panose="020B0702040204020203" pitchFamily="34" charset="0"/>
              </a:rPr>
              <a:t>ParameterSensitivePredicate</a:t>
            </a:r>
            <a:r>
              <a:rPr lang="en-US" sz="2000" b="0" i="0" dirty="0">
                <a:solidFill>
                  <a:srgbClr val="569CD6"/>
                </a:solidFill>
                <a:effectLst/>
                <a:latin typeface="Segoe UI Semibold" panose="020B0702040204020203" pitchFamily="34" charset="0"/>
                <a:cs typeface="Segoe UI Semibold" panose="020B0702040204020203" pitchFamily="34" charset="0"/>
              </a:rPr>
              <a:t>&gt;</a:t>
            </a:r>
            <a:r>
              <a:rPr lang="en-US" sz="2000" b="0" i="0" dirty="0">
                <a:solidFill>
                  <a:srgbClr val="E6E6E6"/>
                </a:solidFill>
                <a:effectLst/>
                <a:latin typeface="Segoe UI Semibold" panose="020B0702040204020203" pitchFamily="34" charset="0"/>
                <a:cs typeface="Segoe UI Semibold" panose="020B0702040204020203" pitchFamily="34" charset="0"/>
              </a:rPr>
              <a:t> </a:t>
            </a:r>
            <a:r>
              <a:rPr lang="en-US" sz="2000" b="0" i="0" dirty="0">
                <a:solidFill>
                  <a:srgbClr val="569CD6"/>
                </a:solidFill>
                <a:effectLst/>
                <a:latin typeface="Segoe UI Semibold" panose="020B0702040204020203" pitchFamily="34" charset="0"/>
                <a:cs typeface="Segoe UI Semibold" panose="020B0702040204020203" pitchFamily="34" charset="0"/>
              </a:rPr>
              <a:t>&lt;/Dispatcher&gt; </a:t>
            </a:r>
            <a:endParaRPr lang="en-US" sz="20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94330547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Monitor with Extended Events</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extLst>
              <p:ext uri="{D42A27DB-BD31-4B8C-83A1-F6EECF244321}">
                <p14:modId xmlns:p14="http://schemas.microsoft.com/office/powerpoint/2010/main" val="302681595"/>
              </p:ext>
            </p:extLst>
          </p:nvPr>
        </p:nvGraphicFramePr>
        <p:xfrm>
          <a:off x="393577" y="912067"/>
          <a:ext cx="11404845" cy="509188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367798539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Intelligent Query Processing Feature Family</a:t>
            </a:r>
          </a:p>
        </p:txBody>
      </p:sp>
      <p:graphicFrame>
        <p:nvGraphicFramePr>
          <p:cNvPr id="2" name="Diagram 1">
            <a:extLst>
              <a:ext uri="{FF2B5EF4-FFF2-40B4-BE49-F238E27FC236}">
                <a16:creationId xmlns:a16="http://schemas.microsoft.com/office/drawing/2014/main" id="{BB258EE7-9952-4097-AD9B-A979F3BE55CF}"/>
              </a:ext>
            </a:extLst>
          </p:cNvPr>
          <p:cNvGraphicFramePr/>
          <p:nvPr>
            <p:extLst>
              <p:ext uri="{D42A27DB-BD31-4B8C-83A1-F6EECF244321}">
                <p14:modId xmlns:p14="http://schemas.microsoft.com/office/powerpoint/2010/main" val="3884340729"/>
              </p:ext>
            </p:extLst>
          </p:nvPr>
        </p:nvGraphicFramePr>
        <p:xfrm>
          <a:off x="134619" y="-252919"/>
          <a:ext cx="11922762" cy="71109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Rounded Corners 3">
            <a:extLst>
              <a:ext uri="{FF2B5EF4-FFF2-40B4-BE49-F238E27FC236}">
                <a16:creationId xmlns:a16="http://schemas.microsoft.com/office/drawing/2014/main" id="{5C33F813-B821-8738-1C54-C07BA8626E20}"/>
              </a:ext>
            </a:extLst>
          </p:cNvPr>
          <p:cNvSpPr/>
          <p:nvPr/>
        </p:nvSpPr>
        <p:spPr>
          <a:xfrm>
            <a:off x="7331488" y="5885236"/>
            <a:ext cx="1412842" cy="479426"/>
          </a:xfrm>
          <a:prstGeom prst="roundRect">
            <a:avLst/>
          </a:prstGeom>
          <a:solidFill>
            <a:schemeClr val="accent4">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 name="TextBox 7">
            <a:extLst>
              <a:ext uri="{FF2B5EF4-FFF2-40B4-BE49-F238E27FC236}">
                <a16:creationId xmlns:a16="http://schemas.microsoft.com/office/drawing/2014/main" id="{940BFE80-5C81-5812-6DB5-0A2B660092C2}"/>
              </a:ext>
            </a:extLst>
          </p:cNvPr>
          <p:cNvSpPr txBox="1"/>
          <p:nvPr/>
        </p:nvSpPr>
        <p:spPr>
          <a:xfrm>
            <a:off x="7166690" y="5944622"/>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2017</a:t>
            </a:r>
          </a:p>
        </p:txBody>
      </p:sp>
      <p:sp>
        <p:nvSpPr>
          <p:cNvPr id="20" name="TextBox 19">
            <a:extLst>
              <a:ext uri="{FF2B5EF4-FFF2-40B4-BE49-F238E27FC236}">
                <a16:creationId xmlns:a16="http://schemas.microsoft.com/office/drawing/2014/main" id="{79A62EE3-7277-280C-19FA-2D48486A2094}"/>
              </a:ext>
            </a:extLst>
          </p:cNvPr>
          <p:cNvSpPr txBox="1"/>
          <p:nvPr/>
        </p:nvSpPr>
        <p:spPr>
          <a:xfrm>
            <a:off x="8568768" y="5221662"/>
            <a:ext cx="2409825" cy="4939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2" name="Rectangle: Rounded Corners 21">
            <a:extLst>
              <a:ext uri="{FF2B5EF4-FFF2-40B4-BE49-F238E27FC236}">
                <a16:creationId xmlns:a16="http://schemas.microsoft.com/office/drawing/2014/main" id="{6FAD4932-B5EA-DA60-B3A9-69292F5B14AD}"/>
              </a:ext>
            </a:extLst>
          </p:cNvPr>
          <p:cNvSpPr/>
          <p:nvPr/>
        </p:nvSpPr>
        <p:spPr>
          <a:xfrm>
            <a:off x="7331488" y="5341409"/>
            <a:ext cx="4507272"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a:ea typeface="+mn-ea"/>
                <a:cs typeface="+mn-cs"/>
              </a:rPr>
              <a:t>Azure SQL Database</a:t>
            </a:r>
          </a:p>
        </p:txBody>
      </p:sp>
      <p:sp>
        <p:nvSpPr>
          <p:cNvPr id="26" name="Rectangle: Rounded Corners 25">
            <a:extLst>
              <a:ext uri="{FF2B5EF4-FFF2-40B4-BE49-F238E27FC236}">
                <a16:creationId xmlns:a16="http://schemas.microsoft.com/office/drawing/2014/main" id="{2F65726C-97E2-ABE3-B671-36903AD16D02}"/>
              </a:ext>
            </a:extLst>
          </p:cNvPr>
          <p:cNvSpPr/>
          <p:nvPr/>
        </p:nvSpPr>
        <p:spPr>
          <a:xfrm>
            <a:off x="8866132" y="5885236"/>
            <a:ext cx="1412842" cy="479426"/>
          </a:xfrm>
          <a:prstGeom prst="roundRect">
            <a:avLst/>
          </a:prstGeom>
          <a:solidFill>
            <a:schemeClr val="accent6">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77088EEC-C3A9-CE29-025D-FEBDD1FF820A}"/>
              </a:ext>
            </a:extLst>
          </p:cNvPr>
          <p:cNvSpPr txBox="1"/>
          <p:nvPr/>
        </p:nvSpPr>
        <p:spPr>
          <a:xfrm>
            <a:off x="8701334" y="594391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2019</a:t>
            </a:r>
          </a:p>
        </p:txBody>
      </p:sp>
      <p:sp>
        <p:nvSpPr>
          <p:cNvPr id="28" name="Rectangle: Rounded Corners 27">
            <a:extLst>
              <a:ext uri="{FF2B5EF4-FFF2-40B4-BE49-F238E27FC236}">
                <a16:creationId xmlns:a16="http://schemas.microsoft.com/office/drawing/2014/main" id="{DF4E77BC-28EC-7AE1-C49E-789136D0D657}"/>
              </a:ext>
            </a:extLst>
          </p:cNvPr>
          <p:cNvSpPr/>
          <p:nvPr/>
        </p:nvSpPr>
        <p:spPr>
          <a:xfrm>
            <a:off x="10425918" y="5885236"/>
            <a:ext cx="1412842" cy="479426"/>
          </a:xfrm>
          <a:prstGeom prst="roundRect">
            <a:avLst/>
          </a:prstGeom>
          <a:solidFill>
            <a:schemeClr val="tx2">
              <a:lumMod val="60000"/>
              <a:lumOff val="4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843B6F55-A55E-0234-5628-BF891AB2A877}"/>
              </a:ext>
            </a:extLst>
          </p:cNvPr>
          <p:cNvSpPr txBox="1"/>
          <p:nvPr/>
        </p:nvSpPr>
        <p:spPr>
          <a:xfrm>
            <a:off x="10263919" y="5934553"/>
            <a:ext cx="174243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2022</a:t>
            </a:r>
          </a:p>
        </p:txBody>
      </p:sp>
    </p:spTree>
    <p:extLst>
      <p:ext uri="{BB962C8B-B14F-4D97-AF65-F5344CB8AC3E}">
        <p14:creationId xmlns:p14="http://schemas.microsoft.com/office/powerpoint/2010/main" val="33976186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8800" kern="0" dirty="0">
              <a:gradFill>
                <a:gsLst>
                  <a:gs pos="0">
                    <a:srgbClr val="FFFFFF"/>
                  </a:gs>
                  <a:gs pos="100000">
                    <a:srgbClr val="FFFFFF"/>
                  </a:gs>
                </a:gsLst>
                <a:lin ang="5400000" scaled="0"/>
              </a:gradFill>
              <a:ea typeface="Segoe UI" pitchFamily="34" charset="0"/>
              <a:cs typeface="Segoe UI" pitchFamily="34" charset="0"/>
            </a:endParaRPr>
          </a:p>
          <a:p>
            <a:pPr algn="ctr" defTabSz="969953" fontAlgn="base">
              <a:lnSpc>
                <a:spcPct val="90000"/>
              </a:lnSpc>
              <a:spcBef>
                <a:spcPct val="0"/>
              </a:spcBef>
              <a:spcAft>
                <a:spcPct val="0"/>
              </a:spcAft>
              <a:defRPr/>
            </a:pPr>
            <a:r>
              <a:rPr lang="en-US" sz="8800" kern="0" dirty="0">
                <a:solidFill>
                  <a:schemeClr val="accent4">
                    <a:lumMod val="75000"/>
                  </a:schemeClr>
                </a:solidFill>
                <a:ea typeface="Segoe UI" pitchFamily="34" charset="0"/>
                <a:cs typeface="Segoe UI" pitchFamily="34" charset="0"/>
              </a:rPr>
              <a:t>Questions?</a:t>
            </a:r>
          </a:p>
        </p:txBody>
      </p:sp>
    </p:spTree>
    <p:extLst>
      <p:ext uri="{BB962C8B-B14F-4D97-AF65-F5344CB8AC3E}">
        <p14:creationId xmlns:p14="http://schemas.microsoft.com/office/powerpoint/2010/main" val="23732691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75C3EA"/>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895DE7-8142-4F4B-A6BC-24319628C14F}"/>
              </a:ext>
            </a:extLst>
          </p:cNvPr>
          <p:cNvSpPr/>
          <p:nvPr/>
        </p:nvSpPr>
        <p:spPr bwMode="auto">
          <a:xfrm>
            <a:off x="269524" y="690282"/>
            <a:ext cx="11748763" cy="36307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 name="Picture 2" descr="Image result for mvp reconnect logo">
            <a:extLst>
              <a:ext uri="{FF2B5EF4-FFF2-40B4-BE49-F238E27FC236}">
                <a16:creationId xmlns:a16="http://schemas.microsoft.com/office/drawing/2014/main" id="{AC96F93F-0C0B-4E9F-9020-F3A82BC9008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9524" y="4964595"/>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857AFFFB-2FF6-4E89-98AF-192F25EAB5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92377" y="4602877"/>
            <a:ext cx="1576068" cy="1576068"/>
          </a:xfrm>
          <a:prstGeom prst="rect">
            <a:avLst/>
          </a:prstGeom>
        </p:spPr>
      </p:pic>
      <p:sp>
        <p:nvSpPr>
          <p:cNvPr id="8" name="TextBox 7">
            <a:extLst>
              <a:ext uri="{FF2B5EF4-FFF2-40B4-BE49-F238E27FC236}">
                <a16:creationId xmlns:a16="http://schemas.microsoft.com/office/drawing/2014/main" id="{26025B8D-586C-40E2-813B-D44DD4CA4556}"/>
              </a:ext>
            </a:extLst>
          </p:cNvPr>
          <p:cNvSpPr txBox="1"/>
          <p:nvPr/>
        </p:nvSpPr>
        <p:spPr>
          <a:xfrm>
            <a:off x="3729614" y="735920"/>
            <a:ext cx="7974384"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icrosoft Customer Engineer (Global Technical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itHub: github.com\SQLMCT</a:t>
            </a:r>
          </a:p>
        </p:txBody>
      </p:sp>
      <p:pic>
        <p:nvPicPr>
          <p:cNvPr id="14" name="Picture 13" descr="A person wearing glasses and looking at the camera&#10;&#10;Description automatically generated">
            <a:extLst>
              <a:ext uri="{FF2B5EF4-FFF2-40B4-BE49-F238E27FC236}">
                <a16:creationId xmlns:a16="http://schemas.microsoft.com/office/drawing/2014/main" id="{4BF1FCD6-B874-43C1-B7DC-00D8BA7597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9275" y="950497"/>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40" name="Picture 2">
            <a:extLst>
              <a:ext uri="{FF2B5EF4-FFF2-40B4-BE49-F238E27FC236}">
                <a16:creationId xmlns:a16="http://schemas.microsoft.com/office/drawing/2014/main" id="{BA556E9C-C257-46F8-806F-23A52BB5A3D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08991" y="4594534"/>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a:extLst>
              <a:ext uri="{FF2B5EF4-FFF2-40B4-BE49-F238E27FC236}">
                <a16:creationId xmlns:a16="http://schemas.microsoft.com/office/drawing/2014/main" id="{1BCF9874-B55B-4EFC-BBD2-EC31BB51382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442219" y="4627860"/>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a:extLst>
              <a:ext uri="{FF2B5EF4-FFF2-40B4-BE49-F238E27FC236}">
                <a16:creationId xmlns:a16="http://schemas.microsoft.com/office/drawing/2014/main" id="{CD6C68E0-AA3D-4089-A9D8-76DB3F1D138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25605" y="4602877"/>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a:extLst>
              <a:ext uri="{FF2B5EF4-FFF2-40B4-BE49-F238E27FC236}">
                <a16:creationId xmlns:a16="http://schemas.microsoft.com/office/drawing/2014/main" id="{225638B0-3CDF-4AA9-9C43-F417F187C4B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31130" y="4581653"/>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6279329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7314CC-2574-B744-A4AA-404B806704E9}"/>
              </a:ext>
            </a:extLst>
          </p:cNvPr>
          <p:cNvSpPr>
            <a:spLocks noGrp="1"/>
          </p:cNvSpPr>
          <p:nvPr>
            <p:ph type="title"/>
          </p:nvPr>
        </p:nvSpPr>
        <p:spPr>
          <a:xfrm>
            <a:off x="596133" y="461068"/>
            <a:ext cx="11002909" cy="491802"/>
          </a:xfrm>
        </p:spPr>
        <p:txBody>
          <a:bodyPr/>
          <a:lstStyle/>
          <a:p>
            <a:r>
              <a:rPr lang="en-US" sz="3196">
                <a:gradFill>
                  <a:gsLst>
                    <a:gs pos="1250">
                      <a:srgbClr val="1A1A1A"/>
                    </a:gs>
                    <a:gs pos="100000">
                      <a:srgbClr val="1A1A1A"/>
                    </a:gs>
                  </a:gsLst>
                  <a:lin ang="5400000" scaled="0"/>
                </a:gradFill>
              </a:rPr>
              <a:t>Learn more</a:t>
            </a:r>
            <a:endParaRPr lang="en-US" sz="1998">
              <a:solidFill>
                <a:schemeClr val="accent1"/>
              </a:solidFill>
              <a:latin typeface="Segoe UI Semibold"/>
            </a:endParaRPr>
          </a:p>
        </p:txBody>
      </p:sp>
      <p:sp>
        <p:nvSpPr>
          <p:cNvPr id="8" name="TextBox 7">
            <a:extLst>
              <a:ext uri="{FF2B5EF4-FFF2-40B4-BE49-F238E27FC236}">
                <a16:creationId xmlns:a16="http://schemas.microsoft.com/office/drawing/2014/main" id="{3A664A51-C14F-4649-BDA8-E2BDF02EEAE9}"/>
              </a:ext>
            </a:extLst>
          </p:cNvPr>
          <p:cNvSpPr txBox="1"/>
          <p:nvPr/>
        </p:nvSpPr>
        <p:spPr>
          <a:xfrm>
            <a:off x="1294425" y="1189220"/>
            <a:ext cx="5686950" cy="630942"/>
          </a:xfrm>
          <a:prstGeom prst="rect">
            <a:avLst/>
          </a:prstGeom>
          <a:noFill/>
        </p:spPr>
        <p:txBody>
          <a:bodyPr wrap="square" lIns="0" tIns="0" rIns="0" bIns="0" rtlCol="0">
            <a:spAutoFit/>
          </a:bodyPr>
          <a:lstStyle/>
          <a:p>
            <a:pPr marL="0" marR="0" lvl="0" indent="0" algn="l" defTabSz="913120" rtl="0" eaLnBrk="1" fontAlgn="auto" latinLnBrk="0" hangingPunct="1">
              <a:lnSpc>
                <a:spcPct val="100000"/>
              </a:lnSpc>
              <a:spcBef>
                <a:spcPts val="2996"/>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Semibold"/>
                <a:ea typeface="+mn-ea"/>
                <a:cs typeface="+mn-cs"/>
              </a:rPr>
              <a:t>Learn more about SQL Server 2022</a:t>
            </a:r>
          </a:p>
          <a:p>
            <a:pPr marL="0" marR="0" lvl="0" indent="0" algn="l" defTabSz="913120" rtl="0" eaLnBrk="1" fontAlgn="auto" latinLnBrk="0" hangingPunct="1">
              <a:lnSpc>
                <a:spcPct val="100000"/>
              </a:lnSpc>
              <a:spcBef>
                <a:spcPts val="60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Semibold"/>
                <a:ea typeface="+mn-ea"/>
                <a:cs typeface="+mn-cs"/>
                <a:hlinkClick r:id="rId3"/>
              </a:rPr>
              <a:t>aka.ms/sqlserver2022</a:t>
            </a:r>
            <a:endParaRPr kumimoji="0" lang="en-US" sz="1800" b="0" i="0" u="none" strike="noStrike" kern="0" cap="none" spc="0" normalizeH="0" baseline="0" noProof="0" dirty="0">
              <a:ln>
                <a:noFill/>
              </a:ln>
              <a:solidFill>
                <a:srgbClr val="000000"/>
              </a:solidFill>
              <a:effectLst/>
              <a:uLnTx/>
              <a:uFillTx/>
              <a:latin typeface="Segoe UI Semibold"/>
              <a:ea typeface="+mn-ea"/>
              <a:cs typeface="+mn-cs"/>
            </a:endParaRPr>
          </a:p>
        </p:txBody>
      </p:sp>
      <p:sp>
        <p:nvSpPr>
          <p:cNvPr id="37" name="TextBox 36">
            <a:extLst>
              <a:ext uri="{FF2B5EF4-FFF2-40B4-BE49-F238E27FC236}">
                <a16:creationId xmlns:a16="http://schemas.microsoft.com/office/drawing/2014/main" id="{92CE7941-BAF2-4425-B5C2-B3226C3D26EC}"/>
              </a:ext>
            </a:extLst>
          </p:cNvPr>
          <p:cNvSpPr txBox="1"/>
          <p:nvPr/>
        </p:nvSpPr>
        <p:spPr>
          <a:xfrm>
            <a:off x="1294425" y="2256891"/>
            <a:ext cx="5686950" cy="630942"/>
          </a:xfrm>
          <a:prstGeom prst="rect">
            <a:avLst/>
          </a:prstGeom>
          <a:noFill/>
        </p:spPr>
        <p:txBody>
          <a:bodyPr wrap="square" lIns="0" tIns="0" rIns="0" bIns="0" rtlCol="0">
            <a:spAutoFit/>
          </a:bodyPr>
          <a:lstStyle/>
          <a:p>
            <a:pPr marL="0" marR="0" lvl="0" indent="0" algn="l" defTabSz="913120" rtl="0" eaLnBrk="1" fontAlgn="auto" latinLnBrk="0" hangingPunct="1">
              <a:lnSpc>
                <a:spcPct val="100000"/>
              </a:lnSpc>
              <a:spcBef>
                <a:spcPts val="2996"/>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Semibold"/>
                <a:ea typeface="+mn-ea"/>
                <a:cs typeface="+mn-cs"/>
              </a:rPr>
              <a:t>Watch a technical deep-dive on SQL Server 2022</a:t>
            </a:r>
          </a:p>
          <a:p>
            <a:pPr marL="0" marR="0" lvl="0" indent="0" algn="l" defTabSz="913120" rtl="0" eaLnBrk="1" fontAlgn="auto" latinLnBrk="0" hangingPunct="1">
              <a:lnSpc>
                <a:spcPct val="100000"/>
              </a:lnSpc>
              <a:spcBef>
                <a:spcPts val="600"/>
              </a:spcBef>
              <a:spcAft>
                <a:spcPts val="0"/>
              </a:spcAft>
              <a:buClrTx/>
              <a:buSzTx/>
              <a:buFontTx/>
              <a:buNone/>
              <a:tabLst/>
              <a:defRPr/>
            </a:pPr>
            <a:r>
              <a:rPr kumimoji="0" lang="en-US" sz="1800" b="0" i="0" u="sng" strike="noStrike" kern="0" cap="none" spc="0" normalizeH="0" baseline="0" noProof="0" dirty="0">
                <a:ln>
                  <a:noFill/>
                </a:ln>
                <a:solidFill>
                  <a:srgbClr val="0078D4"/>
                </a:solidFill>
                <a:effectLst/>
                <a:uLnTx/>
                <a:uFillTx/>
                <a:latin typeface="Segoe UI Semibold"/>
                <a:ea typeface="+mn-ea"/>
                <a:cs typeface="+mn-cs"/>
                <a:hlinkClick r:id="rId4"/>
              </a:rPr>
              <a:t>aka.ms/sqlserver2022mechanics</a:t>
            </a:r>
            <a:endParaRPr kumimoji="0" lang="en-US" sz="1800" b="0" i="0" u="sng" strike="noStrike" kern="0" cap="none" spc="0" normalizeH="0" baseline="0" noProof="0" dirty="0">
              <a:ln>
                <a:noFill/>
              </a:ln>
              <a:solidFill>
                <a:srgbClr val="0078D4"/>
              </a:solidFill>
              <a:effectLst/>
              <a:uLnTx/>
              <a:uFillTx/>
              <a:latin typeface="Segoe UI Semibold"/>
              <a:ea typeface="+mn-ea"/>
              <a:cs typeface="+mn-cs"/>
            </a:endParaRPr>
          </a:p>
        </p:txBody>
      </p:sp>
      <p:grpSp>
        <p:nvGrpSpPr>
          <p:cNvPr id="11" name="Group 10">
            <a:extLst>
              <a:ext uri="{FF2B5EF4-FFF2-40B4-BE49-F238E27FC236}">
                <a16:creationId xmlns:a16="http://schemas.microsoft.com/office/drawing/2014/main" id="{0CDA2823-2223-79B6-88D4-6790432BFBBD}"/>
              </a:ext>
            </a:extLst>
          </p:cNvPr>
          <p:cNvGrpSpPr/>
          <p:nvPr/>
        </p:nvGrpSpPr>
        <p:grpSpPr>
          <a:xfrm>
            <a:off x="453907" y="1147104"/>
            <a:ext cx="652877" cy="652877"/>
            <a:chOff x="601689" y="1350304"/>
            <a:chExt cx="652877" cy="652877"/>
          </a:xfrm>
        </p:grpSpPr>
        <p:sp>
          <p:nvSpPr>
            <p:cNvPr id="10" name="Oval 9">
              <a:extLst>
                <a:ext uri="{FF2B5EF4-FFF2-40B4-BE49-F238E27FC236}">
                  <a16:creationId xmlns:a16="http://schemas.microsoft.com/office/drawing/2014/main" id="{5A5E47D2-4700-4C3D-9DCD-F25FE3CE13C4}"/>
                </a:ext>
              </a:extLst>
            </p:cNvPr>
            <p:cNvSpPr/>
            <p:nvPr/>
          </p:nvSpPr>
          <p:spPr bwMode="auto">
            <a:xfrm>
              <a:off x="601689" y="1350304"/>
              <a:ext cx="652877" cy="652877"/>
            </a:xfrm>
            <a:prstGeom prst="ellipse">
              <a:avLst/>
            </a:prstGeom>
            <a:solidFill>
              <a:srgbClr val="FFFFFF"/>
            </a:solidFill>
            <a:ln w="10795" cap="flat" cmpd="sng" algn="ctr">
              <a:noFill/>
              <a:prstDash val="solid"/>
            </a:ln>
            <a:effectLst>
              <a:outerShdw blurRad="228600" dir="3600000" algn="tl" rotWithShape="0">
                <a:prstClr val="black">
                  <a:alpha val="30000"/>
                </a:prstClr>
              </a:outerShdw>
            </a:effectLst>
          </p:spPr>
          <p:txBody>
            <a:bodyPr vert="horz" wrap="square" lIns="0" tIns="46577" rIns="0" bIns="46577" numCol="1" rtlCol="0" anchor="ctr" anchorCtr="0" compatLnSpc="1">
              <a:prstTxWarp prst="textNoShape">
                <a:avLst/>
              </a:prstTxWarp>
            </a:bodyPr>
            <a:lstStyle/>
            <a:p>
              <a:pPr marL="0" marR="0" lvl="0" indent="0" algn="ctr" defTabSz="9311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grpSp>
          <p:nvGrpSpPr>
            <p:cNvPr id="43" name="Group 42">
              <a:extLst>
                <a:ext uri="{FF2B5EF4-FFF2-40B4-BE49-F238E27FC236}">
                  <a16:creationId xmlns:a16="http://schemas.microsoft.com/office/drawing/2014/main" id="{7681F20E-D739-4A7F-B188-EA36B2DCE1C0}"/>
                </a:ext>
              </a:extLst>
            </p:cNvPr>
            <p:cNvGrpSpPr>
              <a:grpSpLocks noChangeAspect="1"/>
            </p:cNvGrpSpPr>
            <p:nvPr/>
          </p:nvGrpSpPr>
          <p:grpSpPr>
            <a:xfrm>
              <a:off x="765261" y="1554592"/>
              <a:ext cx="325737" cy="244303"/>
              <a:chOff x="11134725" y="2487613"/>
              <a:chExt cx="495300" cy="371475"/>
            </a:xfrm>
          </p:grpSpPr>
          <p:sp>
            <p:nvSpPr>
              <p:cNvPr id="44" name="Rectangle 225">
                <a:extLst>
                  <a:ext uri="{FF2B5EF4-FFF2-40B4-BE49-F238E27FC236}">
                    <a16:creationId xmlns:a16="http://schemas.microsoft.com/office/drawing/2014/main" id="{36AEE384-66D2-49DC-AC1A-5622695B8B06}"/>
                  </a:ext>
                </a:extLst>
              </p:cNvPr>
              <p:cNvSpPr>
                <a:spLocks noChangeArrowheads="1"/>
              </p:cNvSpPr>
              <p:nvPr/>
            </p:nvSpPr>
            <p:spPr bwMode="auto">
              <a:xfrm>
                <a:off x="11134725" y="2487613"/>
                <a:ext cx="495300" cy="371475"/>
              </a:xfrm>
              <a:prstGeom prst="rect">
                <a:avLst/>
              </a:prstGeom>
              <a:solidFill>
                <a:sysClr val="windowText" lastClr="000000"/>
              </a:solidFill>
              <a:ln>
                <a:noFill/>
              </a:ln>
            </p:spPr>
            <p:txBody>
              <a:bodyPr vert="horz" wrap="square" lIns="91321" tIns="45660" rIns="91321" bIns="45660" numCol="1" anchor="t" anchorCtr="0" compatLnSpc="1">
                <a:prstTxWarp prst="textNoShape">
                  <a:avLst/>
                </a:prstTxWarp>
              </a:bodyPr>
              <a:lstStyle/>
              <a:p>
                <a:pPr marL="0" marR="0" lvl="0" indent="0" algn="l" defTabSz="913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Semibold"/>
                  <a:ea typeface="+mn-ea"/>
                  <a:cs typeface="+mn-cs"/>
                </a:endParaRPr>
              </a:p>
            </p:txBody>
          </p:sp>
          <p:sp>
            <p:nvSpPr>
              <p:cNvPr id="45" name="Rectangle 226">
                <a:extLst>
                  <a:ext uri="{FF2B5EF4-FFF2-40B4-BE49-F238E27FC236}">
                    <a16:creationId xmlns:a16="http://schemas.microsoft.com/office/drawing/2014/main" id="{98DDE9A8-90AB-4C82-8722-928C9C702B51}"/>
                  </a:ext>
                </a:extLst>
              </p:cNvPr>
              <p:cNvSpPr>
                <a:spLocks noChangeArrowheads="1"/>
              </p:cNvSpPr>
              <p:nvPr/>
            </p:nvSpPr>
            <p:spPr bwMode="auto">
              <a:xfrm>
                <a:off x="11134725" y="2487613"/>
                <a:ext cx="495300" cy="46038"/>
              </a:xfrm>
              <a:prstGeom prst="rect">
                <a:avLst/>
              </a:prstGeom>
              <a:solidFill>
                <a:srgbClr val="50E6FF"/>
              </a:solidFill>
              <a:ln>
                <a:noFill/>
              </a:ln>
            </p:spPr>
            <p:txBody>
              <a:bodyPr vert="horz" wrap="square" lIns="91321" tIns="45660" rIns="91321" bIns="45660" numCol="1" anchor="t" anchorCtr="0" compatLnSpc="1">
                <a:prstTxWarp prst="textNoShape">
                  <a:avLst/>
                </a:prstTxWarp>
              </a:bodyPr>
              <a:lstStyle/>
              <a:p>
                <a:pPr marL="0" marR="0" lvl="0" indent="0" algn="l" defTabSz="913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Semibold"/>
                  <a:ea typeface="+mn-ea"/>
                  <a:cs typeface="+mn-cs"/>
                </a:endParaRPr>
              </a:p>
            </p:txBody>
          </p:sp>
          <p:sp>
            <p:nvSpPr>
              <p:cNvPr id="46" name="Oval 227">
                <a:extLst>
                  <a:ext uri="{FF2B5EF4-FFF2-40B4-BE49-F238E27FC236}">
                    <a16:creationId xmlns:a16="http://schemas.microsoft.com/office/drawing/2014/main" id="{BF7841A7-DCA7-42E8-9674-8E818EE90C8B}"/>
                  </a:ext>
                </a:extLst>
              </p:cNvPr>
              <p:cNvSpPr>
                <a:spLocks noChangeArrowheads="1"/>
              </p:cNvSpPr>
              <p:nvPr/>
            </p:nvSpPr>
            <p:spPr bwMode="auto">
              <a:xfrm>
                <a:off x="11152188" y="2503488"/>
                <a:ext cx="14288" cy="15875"/>
              </a:xfrm>
              <a:prstGeom prst="ellipse">
                <a:avLst/>
              </a:prstGeom>
              <a:solidFill>
                <a:srgbClr val="0078D4"/>
              </a:solidFill>
              <a:ln>
                <a:noFill/>
              </a:ln>
            </p:spPr>
            <p:txBody>
              <a:bodyPr vert="horz" wrap="square" lIns="91321" tIns="45660" rIns="91321" bIns="45660" numCol="1" anchor="t" anchorCtr="0" compatLnSpc="1">
                <a:prstTxWarp prst="textNoShape">
                  <a:avLst/>
                </a:prstTxWarp>
              </a:bodyPr>
              <a:lstStyle/>
              <a:p>
                <a:pPr marL="0" marR="0" lvl="0" indent="0" algn="l" defTabSz="913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Semibold"/>
                  <a:ea typeface="+mn-ea"/>
                  <a:cs typeface="+mn-cs"/>
                </a:endParaRPr>
              </a:p>
            </p:txBody>
          </p:sp>
          <p:sp>
            <p:nvSpPr>
              <p:cNvPr id="47" name="Oval 228">
                <a:extLst>
                  <a:ext uri="{FF2B5EF4-FFF2-40B4-BE49-F238E27FC236}">
                    <a16:creationId xmlns:a16="http://schemas.microsoft.com/office/drawing/2014/main" id="{41FD9123-09C2-4C17-8D22-C7FE433041DE}"/>
                  </a:ext>
                </a:extLst>
              </p:cNvPr>
              <p:cNvSpPr>
                <a:spLocks noChangeArrowheads="1"/>
              </p:cNvSpPr>
              <p:nvPr/>
            </p:nvSpPr>
            <p:spPr bwMode="auto">
              <a:xfrm>
                <a:off x="11174413" y="2503488"/>
                <a:ext cx="15875" cy="15875"/>
              </a:xfrm>
              <a:prstGeom prst="ellipse">
                <a:avLst/>
              </a:prstGeom>
              <a:solidFill>
                <a:srgbClr val="0078D4"/>
              </a:solidFill>
              <a:ln>
                <a:noFill/>
              </a:ln>
            </p:spPr>
            <p:txBody>
              <a:bodyPr vert="horz" wrap="square" lIns="91321" tIns="45660" rIns="91321" bIns="45660" numCol="1" anchor="t" anchorCtr="0" compatLnSpc="1">
                <a:prstTxWarp prst="textNoShape">
                  <a:avLst/>
                </a:prstTxWarp>
              </a:bodyPr>
              <a:lstStyle/>
              <a:p>
                <a:pPr marL="0" marR="0" lvl="0" indent="0" algn="l" defTabSz="913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Semibold"/>
                  <a:ea typeface="+mn-ea"/>
                  <a:cs typeface="+mn-cs"/>
                </a:endParaRPr>
              </a:p>
            </p:txBody>
          </p:sp>
          <p:sp>
            <p:nvSpPr>
              <p:cNvPr id="48" name="Oval 229">
                <a:extLst>
                  <a:ext uri="{FF2B5EF4-FFF2-40B4-BE49-F238E27FC236}">
                    <a16:creationId xmlns:a16="http://schemas.microsoft.com/office/drawing/2014/main" id="{8996D824-0CAB-4E09-A496-4373BC2B145F}"/>
                  </a:ext>
                </a:extLst>
              </p:cNvPr>
              <p:cNvSpPr>
                <a:spLocks noChangeArrowheads="1"/>
              </p:cNvSpPr>
              <p:nvPr/>
            </p:nvSpPr>
            <p:spPr bwMode="auto">
              <a:xfrm>
                <a:off x="11198225" y="2503488"/>
                <a:ext cx="15875" cy="15875"/>
              </a:xfrm>
              <a:prstGeom prst="ellipse">
                <a:avLst/>
              </a:prstGeom>
              <a:solidFill>
                <a:srgbClr val="0078D4"/>
              </a:solidFill>
              <a:ln>
                <a:noFill/>
              </a:ln>
            </p:spPr>
            <p:txBody>
              <a:bodyPr vert="horz" wrap="square" lIns="91321" tIns="45660" rIns="91321" bIns="45660" numCol="1" anchor="t" anchorCtr="0" compatLnSpc="1">
                <a:prstTxWarp prst="textNoShape">
                  <a:avLst/>
                </a:prstTxWarp>
              </a:bodyPr>
              <a:lstStyle/>
              <a:p>
                <a:pPr marL="0" marR="0" lvl="0" indent="0" algn="l" defTabSz="913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Semibold"/>
                  <a:ea typeface="+mn-ea"/>
                  <a:cs typeface="+mn-cs"/>
                </a:endParaRPr>
              </a:p>
            </p:txBody>
          </p:sp>
          <p:sp>
            <p:nvSpPr>
              <p:cNvPr id="49" name="Rectangle 230">
                <a:extLst>
                  <a:ext uri="{FF2B5EF4-FFF2-40B4-BE49-F238E27FC236}">
                    <a16:creationId xmlns:a16="http://schemas.microsoft.com/office/drawing/2014/main" id="{313DEBC0-7A43-4576-B29D-FE6C94EAB0EB}"/>
                  </a:ext>
                </a:extLst>
              </p:cNvPr>
              <p:cNvSpPr>
                <a:spLocks noChangeArrowheads="1"/>
              </p:cNvSpPr>
              <p:nvPr/>
            </p:nvSpPr>
            <p:spPr bwMode="auto">
              <a:xfrm>
                <a:off x="11228388" y="2595563"/>
                <a:ext cx="76200" cy="77788"/>
              </a:xfrm>
              <a:prstGeom prst="rect">
                <a:avLst/>
              </a:prstGeom>
              <a:solidFill>
                <a:srgbClr val="0078D4"/>
              </a:solidFill>
              <a:ln>
                <a:noFill/>
              </a:ln>
            </p:spPr>
            <p:txBody>
              <a:bodyPr vert="horz" wrap="square" lIns="91321" tIns="45660" rIns="91321" bIns="45660" numCol="1" anchor="t" anchorCtr="0" compatLnSpc="1">
                <a:prstTxWarp prst="textNoShape">
                  <a:avLst/>
                </a:prstTxWarp>
              </a:bodyPr>
              <a:lstStyle/>
              <a:p>
                <a:pPr marL="0" marR="0" lvl="0" indent="0" algn="l" defTabSz="913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Semibold"/>
                  <a:ea typeface="+mn-ea"/>
                  <a:cs typeface="+mn-cs"/>
                </a:endParaRPr>
              </a:p>
            </p:txBody>
          </p:sp>
          <p:sp>
            <p:nvSpPr>
              <p:cNvPr id="50" name="Rectangle 231">
                <a:extLst>
                  <a:ext uri="{FF2B5EF4-FFF2-40B4-BE49-F238E27FC236}">
                    <a16:creationId xmlns:a16="http://schemas.microsoft.com/office/drawing/2014/main" id="{F8B3E3E0-7067-4E1A-84D2-EAA21FE39358}"/>
                  </a:ext>
                </a:extLst>
              </p:cNvPr>
              <p:cNvSpPr>
                <a:spLocks noChangeArrowheads="1"/>
              </p:cNvSpPr>
              <p:nvPr/>
            </p:nvSpPr>
            <p:spPr bwMode="auto">
              <a:xfrm>
                <a:off x="11344275" y="2595563"/>
                <a:ext cx="77788" cy="77788"/>
              </a:xfrm>
              <a:prstGeom prst="rect">
                <a:avLst/>
              </a:prstGeom>
              <a:solidFill>
                <a:srgbClr val="0078D4"/>
              </a:solidFill>
              <a:ln>
                <a:noFill/>
              </a:ln>
            </p:spPr>
            <p:txBody>
              <a:bodyPr vert="horz" wrap="square" lIns="91321" tIns="45660" rIns="91321" bIns="45660" numCol="1" anchor="t" anchorCtr="0" compatLnSpc="1">
                <a:prstTxWarp prst="textNoShape">
                  <a:avLst/>
                </a:prstTxWarp>
              </a:bodyPr>
              <a:lstStyle/>
              <a:p>
                <a:pPr marL="0" marR="0" lvl="0" indent="0" algn="l" defTabSz="913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Semibold"/>
                  <a:ea typeface="+mn-ea"/>
                  <a:cs typeface="+mn-cs"/>
                </a:endParaRPr>
              </a:p>
            </p:txBody>
          </p:sp>
          <p:sp>
            <p:nvSpPr>
              <p:cNvPr id="51" name="Rectangle 232">
                <a:extLst>
                  <a:ext uri="{FF2B5EF4-FFF2-40B4-BE49-F238E27FC236}">
                    <a16:creationId xmlns:a16="http://schemas.microsoft.com/office/drawing/2014/main" id="{E20C54D2-6479-4763-8962-7FAC5B4E791C}"/>
                  </a:ext>
                </a:extLst>
              </p:cNvPr>
              <p:cNvSpPr>
                <a:spLocks noChangeArrowheads="1"/>
              </p:cNvSpPr>
              <p:nvPr/>
            </p:nvSpPr>
            <p:spPr bwMode="auto">
              <a:xfrm>
                <a:off x="11460163" y="2595563"/>
                <a:ext cx="77788" cy="77788"/>
              </a:xfrm>
              <a:prstGeom prst="rect">
                <a:avLst/>
              </a:prstGeom>
              <a:solidFill>
                <a:srgbClr val="50E6FF"/>
              </a:solidFill>
              <a:ln>
                <a:noFill/>
              </a:ln>
            </p:spPr>
            <p:txBody>
              <a:bodyPr vert="horz" wrap="square" lIns="91321" tIns="45660" rIns="91321" bIns="45660" numCol="1" anchor="t" anchorCtr="0" compatLnSpc="1">
                <a:prstTxWarp prst="textNoShape">
                  <a:avLst/>
                </a:prstTxWarp>
              </a:bodyPr>
              <a:lstStyle/>
              <a:p>
                <a:pPr marL="0" marR="0" lvl="0" indent="0" algn="l" defTabSz="913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Semibold"/>
                  <a:ea typeface="+mn-ea"/>
                  <a:cs typeface="+mn-cs"/>
                </a:endParaRPr>
              </a:p>
            </p:txBody>
          </p:sp>
          <p:sp>
            <p:nvSpPr>
              <p:cNvPr id="52" name="Rectangle 233">
                <a:extLst>
                  <a:ext uri="{FF2B5EF4-FFF2-40B4-BE49-F238E27FC236}">
                    <a16:creationId xmlns:a16="http://schemas.microsoft.com/office/drawing/2014/main" id="{699A85DC-E523-43D4-B196-A03D0DE8D7C0}"/>
                  </a:ext>
                </a:extLst>
              </p:cNvPr>
              <p:cNvSpPr>
                <a:spLocks noChangeArrowheads="1"/>
              </p:cNvSpPr>
              <p:nvPr/>
            </p:nvSpPr>
            <p:spPr bwMode="auto">
              <a:xfrm>
                <a:off x="11228388" y="2719388"/>
                <a:ext cx="76200" cy="77788"/>
              </a:xfrm>
              <a:prstGeom prst="rect">
                <a:avLst/>
              </a:prstGeom>
              <a:solidFill>
                <a:srgbClr val="50E6FF"/>
              </a:solidFill>
              <a:ln>
                <a:noFill/>
              </a:ln>
            </p:spPr>
            <p:txBody>
              <a:bodyPr vert="horz" wrap="square" lIns="91321" tIns="45660" rIns="91321" bIns="45660" numCol="1" anchor="t" anchorCtr="0" compatLnSpc="1">
                <a:prstTxWarp prst="textNoShape">
                  <a:avLst/>
                </a:prstTxWarp>
              </a:bodyPr>
              <a:lstStyle/>
              <a:p>
                <a:pPr marL="0" marR="0" lvl="0" indent="0" algn="l" defTabSz="913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Semibold"/>
                  <a:ea typeface="+mn-ea"/>
                  <a:cs typeface="+mn-cs"/>
                </a:endParaRPr>
              </a:p>
            </p:txBody>
          </p:sp>
          <p:sp>
            <p:nvSpPr>
              <p:cNvPr id="53" name="Rectangle 234">
                <a:extLst>
                  <a:ext uri="{FF2B5EF4-FFF2-40B4-BE49-F238E27FC236}">
                    <a16:creationId xmlns:a16="http://schemas.microsoft.com/office/drawing/2014/main" id="{8D1708D9-5E54-4DAD-B292-56CB440A55B0}"/>
                  </a:ext>
                </a:extLst>
              </p:cNvPr>
              <p:cNvSpPr>
                <a:spLocks noChangeArrowheads="1"/>
              </p:cNvSpPr>
              <p:nvPr/>
            </p:nvSpPr>
            <p:spPr bwMode="auto">
              <a:xfrm>
                <a:off x="11344275" y="2719388"/>
                <a:ext cx="77788" cy="77788"/>
              </a:xfrm>
              <a:prstGeom prst="rect">
                <a:avLst/>
              </a:prstGeom>
              <a:solidFill>
                <a:srgbClr val="50E6FF"/>
              </a:solidFill>
              <a:ln>
                <a:noFill/>
              </a:ln>
            </p:spPr>
            <p:txBody>
              <a:bodyPr vert="horz" wrap="square" lIns="91321" tIns="45660" rIns="91321" bIns="45660" numCol="1" anchor="t" anchorCtr="0" compatLnSpc="1">
                <a:prstTxWarp prst="textNoShape">
                  <a:avLst/>
                </a:prstTxWarp>
              </a:bodyPr>
              <a:lstStyle/>
              <a:p>
                <a:pPr marL="0" marR="0" lvl="0" indent="0" algn="l" defTabSz="913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Semibold"/>
                  <a:ea typeface="+mn-ea"/>
                  <a:cs typeface="+mn-cs"/>
                </a:endParaRPr>
              </a:p>
            </p:txBody>
          </p:sp>
          <p:sp>
            <p:nvSpPr>
              <p:cNvPr id="54" name="Rectangle 235">
                <a:extLst>
                  <a:ext uri="{FF2B5EF4-FFF2-40B4-BE49-F238E27FC236}">
                    <a16:creationId xmlns:a16="http://schemas.microsoft.com/office/drawing/2014/main" id="{04299DF9-0A4F-4488-81C9-823CC6EA2A85}"/>
                  </a:ext>
                </a:extLst>
              </p:cNvPr>
              <p:cNvSpPr>
                <a:spLocks noChangeArrowheads="1"/>
              </p:cNvSpPr>
              <p:nvPr/>
            </p:nvSpPr>
            <p:spPr bwMode="auto">
              <a:xfrm>
                <a:off x="11460163" y="2719388"/>
                <a:ext cx="77788" cy="77788"/>
              </a:xfrm>
              <a:prstGeom prst="rect">
                <a:avLst/>
              </a:prstGeom>
              <a:solidFill>
                <a:srgbClr val="0078D4"/>
              </a:solidFill>
              <a:ln>
                <a:noFill/>
              </a:ln>
            </p:spPr>
            <p:txBody>
              <a:bodyPr vert="horz" wrap="square" lIns="91321" tIns="45660" rIns="91321" bIns="45660" numCol="1" anchor="t" anchorCtr="0" compatLnSpc="1">
                <a:prstTxWarp prst="textNoShape">
                  <a:avLst/>
                </a:prstTxWarp>
              </a:bodyPr>
              <a:lstStyle/>
              <a:p>
                <a:pPr marL="0" marR="0" lvl="0" indent="0" algn="l" defTabSz="913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Semibold"/>
                  <a:ea typeface="+mn-ea"/>
                  <a:cs typeface="+mn-cs"/>
                </a:endParaRPr>
              </a:p>
            </p:txBody>
          </p:sp>
        </p:grpSp>
      </p:grpSp>
      <p:sp>
        <p:nvSpPr>
          <p:cNvPr id="4" name="TextBox 3">
            <a:extLst>
              <a:ext uri="{FF2B5EF4-FFF2-40B4-BE49-F238E27FC236}">
                <a16:creationId xmlns:a16="http://schemas.microsoft.com/office/drawing/2014/main" id="{F7A99441-5FE2-4997-A78A-ED75D9F609BB}"/>
              </a:ext>
            </a:extLst>
          </p:cNvPr>
          <p:cNvSpPr txBox="1"/>
          <p:nvPr/>
        </p:nvSpPr>
        <p:spPr>
          <a:xfrm>
            <a:off x="1294424" y="3256830"/>
            <a:ext cx="7546151" cy="630942"/>
          </a:xfrm>
          <a:prstGeom prst="rect">
            <a:avLst/>
          </a:prstGeom>
          <a:noFill/>
        </p:spPr>
        <p:txBody>
          <a:bodyPr wrap="square" lIns="0" tIns="0" rIns="0" bIns="0" rtlCol="0">
            <a:spAutoFit/>
          </a:bodyPr>
          <a:lstStyle/>
          <a:p>
            <a:pPr marL="0" marR="0" lvl="0" indent="0" algn="l" defTabSz="913120" rtl="0" eaLnBrk="1" fontAlgn="auto" latinLnBrk="0" hangingPunct="1">
              <a:lnSpc>
                <a:spcPct val="100000"/>
              </a:lnSpc>
              <a:spcBef>
                <a:spcPts val="2996"/>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Semibold"/>
                <a:ea typeface="+mn-ea"/>
                <a:cs typeface="+mn-cs"/>
              </a:rPr>
              <a:t>Don’t miss out on Data Exposed (Look for SQL Server 2022 – Episode 3)</a:t>
            </a:r>
          </a:p>
          <a:p>
            <a:pPr marL="0" marR="0" lvl="0" indent="0" algn="l" defTabSz="913120" rtl="0" eaLnBrk="1" fontAlgn="auto" latinLnBrk="0" hangingPunct="1">
              <a:lnSpc>
                <a:spcPct val="100000"/>
              </a:lnSpc>
              <a:spcBef>
                <a:spcPts val="600"/>
              </a:spcBef>
              <a:spcAft>
                <a:spcPts val="0"/>
              </a:spcAft>
              <a:buClrTx/>
              <a:buSzTx/>
              <a:buFontTx/>
              <a:buNone/>
              <a:tabLst/>
              <a:defRPr/>
            </a:pPr>
            <a:r>
              <a:rPr kumimoji="0" lang="en-US" sz="1800" b="0" i="0" u="sng" strike="noStrike" kern="0" cap="none" spc="0" normalizeH="0" baseline="0" noProof="0" dirty="0">
                <a:ln>
                  <a:noFill/>
                </a:ln>
                <a:solidFill>
                  <a:srgbClr val="0078D4"/>
                </a:solidFill>
                <a:effectLst/>
                <a:uLnTx/>
                <a:uFillTx/>
                <a:latin typeface="Segoe UI Semibold"/>
                <a:ea typeface="+mn-ea"/>
                <a:cs typeface="+mn-cs"/>
                <a:hlinkClick r:id="rId5"/>
              </a:rPr>
              <a:t>aka.ms/</a:t>
            </a:r>
            <a:r>
              <a:rPr kumimoji="0" lang="en-US" sz="1800" b="0" i="0" u="sng" strike="noStrike" kern="0" cap="none" spc="0" normalizeH="0" baseline="0" noProof="0" dirty="0" err="1">
                <a:ln>
                  <a:noFill/>
                </a:ln>
                <a:solidFill>
                  <a:srgbClr val="0078D4"/>
                </a:solidFill>
                <a:effectLst/>
                <a:uLnTx/>
                <a:uFillTx/>
                <a:latin typeface="Segoe UI Semibold"/>
                <a:ea typeface="+mn-ea"/>
                <a:cs typeface="+mn-cs"/>
                <a:hlinkClick r:id="rId5"/>
              </a:rPr>
              <a:t>dataexposed</a:t>
            </a:r>
            <a:endParaRPr kumimoji="0" lang="en-US" sz="1800" b="0" i="0" u="sng" strike="noStrike" kern="0" cap="none" spc="0" normalizeH="0" baseline="0" noProof="0" dirty="0">
              <a:ln>
                <a:noFill/>
              </a:ln>
              <a:solidFill>
                <a:srgbClr val="0078D4"/>
              </a:solidFill>
              <a:effectLst/>
              <a:uLnTx/>
              <a:uFillTx/>
              <a:latin typeface="Segoe UI Semibold"/>
              <a:ea typeface="+mn-ea"/>
              <a:cs typeface="+mn-cs"/>
            </a:endParaRPr>
          </a:p>
        </p:txBody>
      </p:sp>
      <p:grpSp>
        <p:nvGrpSpPr>
          <p:cNvPr id="13" name="Group 12">
            <a:extLst>
              <a:ext uri="{FF2B5EF4-FFF2-40B4-BE49-F238E27FC236}">
                <a16:creationId xmlns:a16="http://schemas.microsoft.com/office/drawing/2014/main" id="{119B947E-F79C-F6E0-2A92-F691A7EA8891}"/>
              </a:ext>
            </a:extLst>
          </p:cNvPr>
          <p:cNvGrpSpPr/>
          <p:nvPr/>
        </p:nvGrpSpPr>
        <p:grpSpPr>
          <a:xfrm>
            <a:off x="448351" y="3303572"/>
            <a:ext cx="652877" cy="652877"/>
            <a:chOff x="596133" y="3491478"/>
            <a:chExt cx="652877" cy="652877"/>
          </a:xfrm>
        </p:grpSpPr>
        <p:sp>
          <p:nvSpPr>
            <p:cNvPr id="63" name="Oval 62">
              <a:extLst>
                <a:ext uri="{FF2B5EF4-FFF2-40B4-BE49-F238E27FC236}">
                  <a16:creationId xmlns:a16="http://schemas.microsoft.com/office/drawing/2014/main" id="{2B900C6C-EDB9-42D3-8B8A-DC2780B71507}"/>
                </a:ext>
              </a:extLst>
            </p:cNvPr>
            <p:cNvSpPr/>
            <p:nvPr/>
          </p:nvSpPr>
          <p:spPr bwMode="auto">
            <a:xfrm>
              <a:off x="596133" y="3491478"/>
              <a:ext cx="652877" cy="652877"/>
            </a:xfrm>
            <a:prstGeom prst="ellipse">
              <a:avLst/>
            </a:prstGeom>
            <a:solidFill>
              <a:srgbClr val="FFFFFF"/>
            </a:solidFill>
            <a:ln w="10795" cap="flat" cmpd="sng" algn="ctr">
              <a:noFill/>
              <a:prstDash val="solid"/>
            </a:ln>
            <a:effectLst>
              <a:outerShdw blurRad="228600" dir="3600000" algn="tl" rotWithShape="0">
                <a:prstClr val="black">
                  <a:alpha val="30000"/>
                </a:prstClr>
              </a:outerShdw>
            </a:effectLst>
          </p:spPr>
          <p:txBody>
            <a:bodyPr vert="horz" wrap="square" lIns="0" tIns="46577" rIns="0" bIns="46577" numCol="1" rtlCol="0" anchor="ctr" anchorCtr="0" compatLnSpc="1">
              <a:prstTxWarp prst="textNoShape">
                <a:avLst/>
              </a:prstTxWarp>
            </a:bodyPr>
            <a:lstStyle/>
            <a:p>
              <a:pPr marL="0" marR="0" lvl="0" indent="0" algn="ctr" defTabSz="9311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pic>
          <p:nvPicPr>
            <p:cNvPr id="3074" name="Picture 2" descr="See the source image">
              <a:extLst>
                <a:ext uri="{FF2B5EF4-FFF2-40B4-BE49-F238E27FC236}">
                  <a16:creationId xmlns:a16="http://schemas.microsoft.com/office/drawing/2014/main" id="{03EB1828-76B3-45C5-BC45-30EA9FDB4CD5}"/>
                </a:ext>
              </a:extLst>
            </p:cNvPr>
            <p:cNvPicPr>
              <a:picLocks noChangeAspect="1" noChangeArrowheads="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8937" y="3634282"/>
              <a:ext cx="367269" cy="36726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a:extLst>
              <a:ext uri="{FF2B5EF4-FFF2-40B4-BE49-F238E27FC236}">
                <a16:creationId xmlns:a16="http://schemas.microsoft.com/office/drawing/2014/main" id="{DFE4E206-0BAF-B48C-70CB-0EC6D25EC84C}"/>
              </a:ext>
            </a:extLst>
          </p:cNvPr>
          <p:cNvGrpSpPr/>
          <p:nvPr/>
        </p:nvGrpSpPr>
        <p:grpSpPr>
          <a:xfrm>
            <a:off x="453907" y="2225338"/>
            <a:ext cx="652877" cy="652877"/>
            <a:chOff x="601689" y="2425057"/>
            <a:chExt cx="652877" cy="652877"/>
          </a:xfrm>
        </p:grpSpPr>
        <p:sp>
          <p:nvSpPr>
            <p:cNvPr id="39" name="Oval 38">
              <a:extLst>
                <a:ext uri="{FF2B5EF4-FFF2-40B4-BE49-F238E27FC236}">
                  <a16:creationId xmlns:a16="http://schemas.microsoft.com/office/drawing/2014/main" id="{0D9B8B85-0452-44EB-BD40-51A94CE1C947}"/>
                </a:ext>
              </a:extLst>
            </p:cNvPr>
            <p:cNvSpPr/>
            <p:nvPr/>
          </p:nvSpPr>
          <p:spPr bwMode="auto">
            <a:xfrm>
              <a:off x="601689" y="2425057"/>
              <a:ext cx="652877" cy="652877"/>
            </a:xfrm>
            <a:prstGeom prst="ellipse">
              <a:avLst/>
            </a:prstGeom>
            <a:solidFill>
              <a:srgbClr val="FFFFFF"/>
            </a:solidFill>
            <a:ln w="10795" cap="flat" cmpd="sng" algn="ctr">
              <a:noFill/>
              <a:prstDash val="solid"/>
            </a:ln>
            <a:effectLst>
              <a:outerShdw blurRad="228600" dir="3600000" algn="tl" rotWithShape="0">
                <a:prstClr val="black">
                  <a:alpha val="30000"/>
                </a:prstClr>
              </a:outerShdw>
            </a:effectLst>
          </p:spPr>
          <p:txBody>
            <a:bodyPr vert="horz" wrap="square" lIns="0" tIns="46577" rIns="0" bIns="46577" numCol="1" rtlCol="0" anchor="ctr" anchorCtr="0" compatLnSpc="1">
              <a:prstTxWarp prst="textNoShape">
                <a:avLst/>
              </a:prstTxWarp>
            </a:bodyPr>
            <a:lstStyle/>
            <a:p>
              <a:pPr marL="0" marR="0" lvl="0" indent="0" algn="ctr" defTabSz="9311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pic>
          <p:nvPicPr>
            <p:cNvPr id="3076" name="Picture 4" descr="See the source image">
              <a:extLst>
                <a:ext uri="{FF2B5EF4-FFF2-40B4-BE49-F238E27FC236}">
                  <a16:creationId xmlns:a16="http://schemas.microsoft.com/office/drawing/2014/main" id="{975DB4F5-D66F-4AC8-B4E2-A0196CD4B4CD}"/>
                </a:ext>
              </a:extLst>
            </p:cNvPr>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2627" y="2563770"/>
              <a:ext cx="355256" cy="355997"/>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TextBox 4">
            <a:extLst>
              <a:ext uri="{FF2B5EF4-FFF2-40B4-BE49-F238E27FC236}">
                <a16:creationId xmlns:a16="http://schemas.microsoft.com/office/drawing/2014/main" id="{9D23FED6-AB44-1921-D32E-A81C5BFCE727}"/>
              </a:ext>
            </a:extLst>
          </p:cNvPr>
          <p:cNvSpPr txBox="1"/>
          <p:nvPr/>
        </p:nvSpPr>
        <p:spPr>
          <a:xfrm>
            <a:off x="1372246" y="4295547"/>
            <a:ext cx="5289334" cy="1969770"/>
          </a:xfrm>
          <a:prstGeom prst="rect">
            <a:avLst/>
          </a:prstGeom>
          <a:noFill/>
        </p:spPr>
        <p:txBody>
          <a:bodyPr wrap="square" lIns="0" tIns="0" rIns="0" bIns="0" rtlCol="0">
            <a:spAutoFit/>
          </a:bodyPr>
          <a:lstStyle/>
          <a:p>
            <a:pPr marL="0" marR="0" lvl="0" indent="0" algn="l" defTabSz="913120" rtl="0" eaLnBrk="1" fontAlgn="auto" latinLnBrk="0" hangingPunct="1">
              <a:lnSpc>
                <a:spcPct val="100000"/>
              </a:lnSpc>
              <a:spcBef>
                <a:spcPts val="2996"/>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Semibold"/>
                <a:ea typeface="+mn-ea"/>
                <a:cs typeface="+mn-cs"/>
              </a:rPr>
              <a:t>More information on Intelligent Query Processing (Currently does not have 2022 information.)</a:t>
            </a:r>
          </a:p>
          <a:p>
            <a:pPr marL="0" marR="0" lvl="0" indent="0" algn="l" defTabSz="913120" rtl="0" eaLnBrk="1" fontAlgn="auto" latinLnBrk="0" hangingPunct="1">
              <a:lnSpc>
                <a:spcPct val="100000"/>
              </a:lnSpc>
              <a:spcBef>
                <a:spcPts val="600"/>
              </a:spcBef>
              <a:spcAft>
                <a:spcPts val="0"/>
              </a:spcAft>
              <a:buClrTx/>
              <a:buSzTx/>
              <a:buFontTx/>
              <a:buNone/>
              <a:tabLst/>
              <a:defRPr/>
            </a:pPr>
            <a:r>
              <a:rPr kumimoji="0" lang="en-US" sz="1800" b="0" i="0" u="sng" strike="noStrike" kern="0" cap="none" spc="0" normalizeH="0" baseline="0" noProof="0" dirty="0">
                <a:ln>
                  <a:noFill/>
                </a:ln>
                <a:solidFill>
                  <a:srgbClr val="0078D4"/>
                </a:solidFill>
                <a:effectLst/>
                <a:uLnTx/>
                <a:uFillTx/>
                <a:latin typeface="Segoe UI Semibold"/>
                <a:ea typeface="+mn-ea"/>
                <a:cs typeface="+mn-cs"/>
                <a:hlinkClick r:id="rId8"/>
              </a:rPr>
              <a:t>aka.ms/IQP</a:t>
            </a:r>
            <a:endParaRPr kumimoji="0" lang="en-US" sz="1800" b="0" i="0" u="sng" strike="noStrike" kern="0" cap="none" spc="0" normalizeH="0" baseline="0" noProof="0" dirty="0">
              <a:ln>
                <a:noFill/>
              </a:ln>
              <a:solidFill>
                <a:srgbClr val="0078D4"/>
              </a:solidFill>
              <a:effectLst/>
              <a:uLnTx/>
              <a:uFillTx/>
              <a:latin typeface="Segoe UI Semibold"/>
              <a:ea typeface="+mn-ea"/>
              <a:cs typeface="+mn-cs"/>
            </a:endParaRPr>
          </a:p>
          <a:p>
            <a:pPr marL="0" marR="0" lvl="0" indent="0" algn="l" defTabSz="91312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bold"/>
                <a:ea typeface="+mn-ea"/>
                <a:cs typeface="Segoe UI" panose="020B0502040204020203" pitchFamily="34" charset="0"/>
                <a:hlinkClick r:id="rId9"/>
              </a:rPr>
              <a:t>https://aka.ms/IQPDemos</a:t>
            </a:r>
            <a:r>
              <a:rPr kumimoji="0" lang="en-US" sz="1800" b="0" i="0" u="none" strike="noStrike" kern="1200" cap="none" spc="0" normalizeH="0" baseline="0" noProof="0" dirty="0">
                <a:ln>
                  <a:noFill/>
                </a:ln>
                <a:solidFill>
                  <a:srgbClr val="1A1A1A"/>
                </a:solidFill>
                <a:effectLst/>
                <a:uLnTx/>
                <a:uFillTx/>
                <a:latin typeface="Segoe UI Semibold"/>
                <a:ea typeface="+mn-ea"/>
                <a:cs typeface="Segoe UI" panose="020B0502040204020203" pitchFamily="34" charset="0"/>
              </a:rPr>
              <a:t> </a:t>
            </a:r>
          </a:p>
          <a:p>
            <a:pPr marL="0" marR="0" lvl="0" indent="0" algn="l" defTabSz="91312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Segoe UI Semibold"/>
                <a:ea typeface="+mn-ea"/>
                <a:cs typeface="Segoe UI" panose="020B0502040204020203" pitchFamily="34" charset="0"/>
                <a:hlinkClick r:id="rId10"/>
              </a:rPr>
              <a:t>https://aka.ms/SQLCE</a:t>
            </a:r>
            <a:endParaRPr kumimoji="0" lang="en-US" sz="1800" b="0" i="0" u="none" strike="noStrike" kern="1200" cap="none" spc="0" normalizeH="0" baseline="0" noProof="0" dirty="0">
              <a:ln>
                <a:noFill/>
              </a:ln>
              <a:solidFill>
                <a:srgbClr val="1A1A1A"/>
              </a:solidFill>
              <a:effectLst/>
              <a:uLnTx/>
              <a:uFillTx/>
              <a:latin typeface="Segoe UI Semibold"/>
              <a:ea typeface="+mn-ea"/>
              <a:cs typeface="Segoe UI" panose="020B0502040204020203" pitchFamily="34" charset="0"/>
            </a:endParaRPr>
          </a:p>
          <a:p>
            <a:pPr marL="0" marR="0" lvl="0" indent="0" algn="l" defTabSz="913120" rtl="0" eaLnBrk="1" fontAlgn="auto" latinLnBrk="0" hangingPunct="1">
              <a:lnSpc>
                <a:spcPct val="100000"/>
              </a:lnSpc>
              <a:spcBef>
                <a:spcPts val="600"/>
              </a:spcBef>
              <a:spcAft>
                <a:spcPts val="0"/>
              </a:spcAft>
              <a:buClrTx/>
              <a:buSzTx/>
              <a:buFontTx/>
              <a:buNone/>
              <a:tabLst/>
              <a:defRPr/>
            </a:pPr>
            <a:endParaRPr kumimoji="0" lang="en-US" sz="1800" b="0" i="0" u="sng" strike="noStrike" kern="0" cap="none" spc="0" normalizeH="0" baseline="0" noProof="0" dirty="0">
              <a:ln>
                <a:noFill/>
              </a:ln>
              <a:solidFill>
                <a:srgbClr val="0078D4"/>
              </a:solidFill>
              <a:effectLst/>
              <a:uLnTx/>
              <a:uFillTx/>
              <a:latin typeface="Segoe UI Semibold"/>
              <a:ea typeface="+mn-ea"/>
              <a:cs typeface="+mn-cs"/>
            </a:endParaRPr>
          </a:p>
        </p:txBody>
      </p:sp>
      <p:grpSp>
        <p:nvGrpSpPr>
          <p:cNvPr id="16" name="Group 15">
            <a:extLst>
              <a:ext uri="{FF2B5EF4-FFF2-40B4-BE49-F238E27FC236}">
                <a16:creationId xmlns:a16="http://schemas.microsoft.com/office/drawing/2014/main" id="{FF79FF39-071C-B238-AFD7-C7FD88F17658}"/>
              </a:ext>
            </a:extLst>
          </p:cNvPr>
          <p:cNvGrpSpPr/>
          <p:nvPr/>
        </p:nvGrpSpPr>
        <p:grpSpPr>
          <a:xfrm>
            <a:off x="448351" y="4381807"/>
            <a:ext cx="652877" cy="652877"/>
            <a:chOff x="596133" y="4585007"/>
            <a:chExt cx="652877" cy="652877"/>
          </a:xfrm>
        </p:grpSpPr>
        <p:sp>
          <p:nvSpPr>
            <p:cNvPr id="6" name="Oval 5">
              <a:extLst>
                <a:ext uri="{FF2B5EF4-FFF2-40B4-BE49-F238E27FC236}">
                  <a16:creationId xmlns:a16="http://schemas.microsoft.com/office/drawing/2014/main" id="{17C62DEC-7BF1-01A3-DE69-8FDF143854FA}"/>
                </a:ext>
              </a:extLst>
            </p:cNvPr>
            <p:cNvSpPr/>
            <p:nvPr/>
          </p:nvSpPr>
          <p:spPr bwMode="auto">
            <a:xfrm>
              <a:off x="596133" y="4585007"/>
              <a:ext cx="652877" cy="652877"/>
            </a:xfrm>
            <a:prstGeom prst="ellipse">
              <a:avLst/>
            </a:prstGeom>
            <a:solidFill>
              <a:srgbClr val="FFFFFF"/>
            </a:solidFill>
            <a:ln w="10795" cap="flat" cmpd="sng" algn="ctr">
              <a:noFill/>
              <a:prstDash val="solid"/>
            </a:ln>
            <a:effectLst>
              <a:outerShdw blurRad="228600" dir="3600000" algn="tl" rotWithShape="0">
                <a:prstClr val="black">
                  <a:alpha val="30000"/>
                </a:prstClr>
              </a:outerShdw>
            </a:effectLst>
          </p:spPr>
          <p:txBody>
            <a:bodyPr vert="horz" wrap="square" lIns="0" tIns="46577" rIns="0" bIns="46577" numCol="1" rtlCol="0" anchor="ctr" anchorCtr="0" compatLnSpc="1">
              <a:prstTxWarp prst="textNoShape">
                <a:avLst/>
              </a:prstTxWarp>
            </a:bodyPr>
            <a:lstStyle/>
            <a:p>
              <a:pPr marL="0" marR="0" lvl="0" indent="0" algn="ctr" defTabSz="9311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a:ea typeface="+mn-ea"/>
                <a:cs typeface="+mn-cs"/>
              </a:endParaRPr>
            </a:p>
          </p:txBody>
        </p:sp>
        <p:pic>
          <p:nvPicPr>
            <p:cNvPr id="15" name="Graphic 14" descr="Illustrator with solid fill">
              <a:extLst>
                <a:ext uri="{FF2B5EF4-FFF2-40B4-BE49-F238E27FC236}">
                  <a16:creationId xmlns:a16="http://schemas.microsoft.com/office/drawing/2014/main" id="{060D4789-6B99-55E3-9F0A-BE5EB09B23B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58092" y="4672521"/>
              <a:ext cx="515301" cy="515301"/>
            </a:xfrm>
            <a:prstGeom prst="rect">
              <a:avLst/>
            </a:prstGeom>
          </p:spPr>
        </p:pic>
      </p:grpSp>
    </p:spTree>
    <p:extLst>
      <p:ext uri="{BB962C8B-B14F-4D97-AF65-F5344CB8AC3E}">
        <p14:creationId xmlns:p14="http://schemas.microsoft.com/office/powerpoint/2010/main" val="4919719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t">
            <a:normAutofit/>
          </a:bodyPr>
          <a:lstStyle/>
          <a:p>
            <a:r>
              <a:rPr lang="en-US" dirty="0"/>
              <a:t>What is in the session?</a:t>
            </a:r>
          </a:p>
        </p:txBody>
      </p:sp>
      <p:graphicFrame>
        <p:nvGraphicFramePr>
          <p:cNvPr id="6" name="Content Placeholder 5">
            <a:extLst>
              <a:ext uri="{FF2B5EF4-FFF2-40B4-BE49-F238E27FC236}">
                <a16:creationId xmlns:a16="http://schemas.microsoft.com/office/drawing/2014/main" id="{474A3D77-97D4-4929-BC73-31BCC8C15AC9}"/>
              </a:ext>
            </a:extLst>
          </p:cNvPr>
          <p:cNvGraphicFramePr>
            <a:graphicFrameLocks noGrp="1"/>
          </p:cNvGraphicFramePr>
          <p:nvPr>
            <p:ph sz="quarter" idx="13"/>
            <p:extLst>
              <p:ext uri="{D42A27DB-BD31-4B8C-83A1-F6EECF244321}">
                <p14:modId xmlns:p14="http://schemas.microsoft.com/office/powerpoint/2010/main" val="479575940"/>
              </p:ext>
            </p:extLst>
          </p:nvPr>
        </p:nvGraphicFramePr>
        <p:xfrm>
          <a:off x="655638" y="1011676"/>
          <a:ext cx="10880725" cy="55262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68368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Intelligent Query Processing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extLst>
              <p:ext uri="{D42A27DB-BD31-4B8C-83A1-F6EECF244321}">
                <p14:modId xmlns:p14="http://schemas.microsoft.com/office/powerpoint/2010/main" val="3455734179"/>
              </p:ext>
            </p:extLst>
          </p:nvPr>
        </p:nvGraphicFramePr>
        <p:xfrm>
          <a:off x="134619" y="-206188"/>
          <a:ext cx="11922762" cy="70641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Rounded Corners 3">
            <a:extLst>
              <a:ext uri="{FF2B5EF4-FFF2-40B4-BE49-F238E27FC236}">
                <a16:creationId xmlns:a16="http://schemas.microsoft.com/office/drawing/2014/main" id="{5C33F813-B821-8738-1C54-C07BA8626E20}"/>
              </a:ext>
            </a:extLst>
          </p:cNvPr>
          <p:cNvSpPr/>
          <p:nvPr/>
        </p:nvSpPr>
        <p:spPr>
          <a:xfrm>
            <a:off x="7331488" y="5885236"/>
            <a:ext cx="1412842" cy="479426"/>
          </a:xfrm>
          <a:prstGeom prst="roundRect">
            <a:avLst/>
          </a:prstGeom>
          <a:solidFill>
            <a:schemeClr val="accent4">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bg1"/>
              </a:solidFill>
            </a:endParaRPr>
          </a:p>
        </p:txBody>
      </p:sp>
      <p:sp>
        <p:nvSpPr>
          <p:cNvPr id="8" name="TextBox 7">
            <a:extLst>
              <a:ext uri="{FF2B5EF4-FFF2-40B4-BE49-F238E27FC236}">
                <a16:creationId xmlns:a16="http://schemas.microsoft.com/office/drawing/2014/main" id="{940BFE80-5C81-5812-6DB5-0A2B660092C2}"/>
              </a:ext>
            </a:extLst>
          </p:cNvPr>
          <p:cNvSpPr txBox="1"/>
          <p:nvPr/>
        </p:nvSpPr>
        <p:spPr>
          <a:xfrm>
            <a:off x="7166690" y="5944622"/>
            <a:ext cx="1742438" cy="369332"/>
          </a:xfrm>
          <a:prstGeom prst="rect">
            <a:avLst/>
          </a:prstGeom>
          <a:noFill/>
        </p:spPr>
        <p:txBody>
          <a:bodyPr wrap="square" rtlCol="0">
            <a:spAutoFit/>
          </a:bodyPr>
          <a:lstStyle/>
          <a:p>
            <a:pPr algn="ctr"/>
            <a:r>
              <a:rPr lang="en-US" dirty="0">
                <a:solidFill>
                  <a:schemeClr val="bg1"/>
                </a:solidFill>
              </a:rPr>
              <a:t>2017</a:t>
            </a:r>
          </a:p>
        </p:txBody>
      </p:sp>
      <p:sp>
        <p:nvSpPr>
          <p:cNvPr id="20" name="TextBox 19">
            <a:extLst>
              <a:ext uri="{FF2B5EF4-FFF2-40B4-BE49-F238E27FC236}">
                <a16:creationId xmlns:a16="http://schemas.microsoft.com/office/drawing/2014/main" id="{79A62EE3-7277-280C-19FA-2D48486A2094}"/>
              </a:ext>
            </a:extLst>
          </p:cNvPr>
          <p:cNvSpPr txBox="1"/>
          <p:nvPr/>
        </p:nvSpPr>
        <p:spPr>
          <a:xfrm>
            <a:off x="8568768" y="5221662"/>
            <a:ext cx="2409825" cy="493980"/>
          </a:xfrm>
          <a:prstGeom prst="rect">
            <a:avLst/>
          </a:prstGeom>
          <a:noFill/>
        </p:spPr>
        <p:txBody>
          <a:bodyPr wrap="square" rtlCol="0">
            <a:spAutoFit/>
          </a:bodyPr>
          <a:lstStyle/>
          <a:p>
            <a:endParaRPr lang="en-US" dirty="0"/>
          </a:p>
        </p:txBody>
      </p:sp>
      <p:sp>
        <p:nvSpPr>
          <p:cNvPr id="22" name="Rectangle: Rounded Corners 21">
            <a:extLst>
              <a:ext uri="{FF2B5EF4-FFF2-40B4-BE49-F238E27FC236}">
                <a16:creationId xmlns:a16="http://schemas.microsoft.com/office/drawing/2014/main" id="{6FAD4932-B5EA-DA60-B3A9-69292F5B14AD}"/>
              </a:ext>
            </a:extLst>
          </p:cNvPr>
          <p:cNvSpPr/>
          <p:nvPr/>
        </p:nvSpPr>
        <p:spPr>
          <a:xfrm>
            <a:off x="7331488" y="5341409"/>
            <a:ext cx="4507272"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solidFill>
                  <a:schemeClr val="tx1"/>
                </a:solidFill>
              </a:rPr>
              <a:t>Azure SQL Database</a:t>
            </a:r>
          </a:p>
        </p:txBody>
      </p:sp>
      <p:sp>
        <p:nvSpPr>
          <p:cNvPr id="26" name="Rectangle: Rounded Corners 25">
            <a:extLst>
              <a:ext uri="{FF2B5EF4-FFF2-40B4-BE49-F238E27FC236}">
                <a16:creationId xmlns:a16="http://schemas.microsoft.com/office/drawing/2014/main" id="{2F65726C-97E2-ABE3-B671-36903AD16D02}"/>
              </a:ext>
            </a:extLst>
          </p:cNvPr>
          <p:cNvSpPr/>
          <p:nvPr/>
        </p:nvSpPr>
        <p:spPr>
          <a:xfrm>
            <a:off x="8866132" y="5885236"/>
            <a:ext cx="1412842" cy="479426"/>
          </a:xfrm>
          <a:prstGeom prst="roundRect">
            <a:avLst/>
          </a:prstGeom>
          <a:solidFill>
            <a:schemeClr val="accent6">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bg1"/>
              </a:solidFill>
            </a:endParaRPr>
          </a:p>
        </p:txBody>
      </p:sp>
      <p:sp>
        <p:nvSpPr>
          <p:cNvPr id="10" name="TextBox 9">
            <a:extLst>
              <a:ext uri="{FF2B5EF4-FFF2-40B4-BE49-F238E27FC236}">
                <a16:creationId xmlns:a16="http://schemas.microsoft.com/office/drawing/2014/main" id="{77088EEC-C3A9-CE29-025D-FEBDD1FF820A}"/>
              </a:ext>
            </a:extLst>
          </p:cNvPr>
          <p:cNvSpPr txBox="1"/>
          <p:nvPr/>
        </p:nvSpPr>
        <p:spPr>
          <a:xfrm>
            <a:off x="8701334" y="5943913"/>
            <a:ext cx="1742438" cy="369332"/>
          </a:xfrm>
          <a:prstGeom prst="rect">
            <a:avLst/>
          </a:prstGeom>
          <a:noFill/>
        </p:spPr>
        <p:txBody>
          <a:bodyPr wrap="square" rtlCol="0">
            <a:spAutoFit/>
          </a:bodyPr>
          <a:lstStyle/>
          <a:p>
            <a:pPr algn="ctr"/>
            <a:r>
              <a:rPr lang="en-US" dirty="0">
                <a:solidFill>
                  <a:schemeClr val="bg1"/>
                </a:solidFill>
              </a:rPr>
              <a:t>2019</a:t>
            </a:r>
          </a:p>
        </p:txBody>
      </p:sp>
      <p:sp>
        <p:nvSpPr>
          <p:cNvPr id="28" name="Rectangle: Rounded Corners 27">
            <a:extLst>
              <a:ext uri="{FF2B5EF4-FFF2-40B4-BE49-F238E27FC236}">
                <a16:creationId xmlns:a16="http://schemas.microsoft.com/office/drawing/2014/main" id="{DF4E77BC-28EC-7AE1-C49E-789136D0D657}"/>
              </a:ext>
            </a:extLst>
          </p:cNvPr>
          <p:cNvSpPr/>
          <p:nvPr/>
        </p:nvSpPr>
        <p:spPr>
          <a:xfrm>
            <a:off x="10425918" y="5885236"/>
            <a:ext cx="1412842" cy="479426"/>
          </a:xfrm>
          <a:prstGeom prst="roundRect">
            <a:avLst/>
          </a:prstGeom>
          <a:solidFill>
            <a:schemeClr val="tx2">
              <a:lumMod val="60000"/>
              <a:lumOff val="4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bg1"/>
              </a:solidFill>
            </a:endParaRPr>
          </a:p>
        </p:txBody>
      </p:sp>
      <p:sp>
        <p:nvSpPr>
          <p:cNvPr id="30" name="TextBox 29">
            <a:extLst>
              <a:ext uri="{FF2B5EF4-FFF2-40B4-BE49-F238E27FC236}">
                <a16:creationId xmlns:a16="http://schemas.microsoft.com/office/drawing/2014/main" id="{843B6F55-A55E-0234-5628-BF891AB2A877}"/>
              </a:ext>
            </a:extLst>
          </p:cNvPr>
          <p:cNvSpPr txBox="1"/>
          <p:nvPr/>
        </p:nvSpPr>
        <p:spPr>
          <a:xfrm>
            <a:off x="10263919" y="5934553"/>
            <a:ext cx="1742438" cy="369332"/>
          </a:xfrm>
          <a:prstGeom prst="rect">
            <a:avLst/>
          </a:prstGeom>
          <a:noFill/>
        </p:spPr>
        <p:txBody>
          <a:bodyPr wrap="square" rtlCol="0">
            <a:spAutoFit/>
          </a:bodyPr>
          <a:lstStyle/>
          <a:p>
            <a:pPr algn="ctr"/>
            <a:r>
              <a:rPr lang="en-US" dirty="0">
                <a:solidFill>
                  <a:schemeClr val="bg1"/>
                </a:solidFill>
              </a:rPr>
              <a:t>2022</a:t>
            </a:r>
          </a:p>
        </p:txBody>
      </p:sp>
    </p:spTree>
    <p:extLst>
      <p:ext uri="{BB962C8B-B14F-4D97-AF65-F5344CB8AC3E}">
        <p14:creationId xmlns:p14="http://schemas.microsoft.com/office/powerpoint/2010/main" val="45452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Enabling and Disabling – Instance Level</a:t>
            </a:r>
          </a:p>
        </p:txBody>
      </p:sp>
      <p:graphicFrame>
        <p:nvGraphicFramePr>
          <p:cNvPr id="2" name="Diagram 1">
            <a:extLst>
              <a:ext uri="{FF2B5EF4-FFF2-40B4-BE49-F238E27FC236}">
                <a16:creationId xmlns:a16="http://schemas.microsoft.com/office/drawing/2014/main" id="{A3F703EF-4406-0849-9267-50C04D501408}"/>
              </a:ext>
            </a:extLst>
          </p:cNvPr>
          <p:cNvGraphicFramePr/>
          <p:nvPr>
            <p:extLst>
              <p:ext uri="{D42A27DB-BD31-4B8C-83A1-F6EECF244321}">
                <p14:modId xmlns:p14="http://schemas.microsoft.com/office/powerpoint/2010/main" val="710535984"/>
              </p:ext>
            </p:extLst>
          </p:nvPr>
        </p:nvGraphicFramePr>
        <p:xfrm>
          <a:off x="269238" y="1108303"/>
          <a:ext cx="11546244" cy="50056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058334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Enabling and Disabling – Database Level</a:t>
            </a:r>
          </a:p>
        </p:txBody>
      </p:sp>
      <p:sp>
        <p:nvSpPr>
          <p:cNvPr id="8" name="Rectangle 7">
            <a:extLst>
              <a:ext uri="{FF2B5EF4-FFF2-40B4-BE49-F238E27FC236}">
                <a16:creationId xmlns:a16="http://schemas.microsoft.com/office/drawing/2014/main" id="{E87CA332-0A98-47A2-A23B-F3DD2B6B6F7C}"/>
              </a:ext>
            </a:extLst>
          </p:cNvPr>
          <p:cNvSpPr/>
          <p:nvPr/>
        </p:nvSpPr>
        <p:spPr>
          <a:xfrm>
            <a:off x="366516" y="1380333"/>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LTER</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ATABA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COPED</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ONFIGURAT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DISABLE_BATCH_MODE_ADAPTIVE_JOINS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FF</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9" name="Rectangle 8">
            <a:extLst>
              <a:ext uri="{FF2B5EF4-FFF2-40B4-BE49-F238E27FC236}">
                <a16:creationId xmlns:a16="http://schemas.microsoft.com/office/drawing/2014/main" id="{F8948C42-E3EE-42C8-AB1C-9B48B5641AD7}"/>
              </a:ext>
            </a:extLst>
          </p:cNvPr>
          <p:cNvSpPr/>
          <p:nvPr/>
        </p:nvSpPr>
        <p:spPr>
          <a:xfrm>
            <a:off x="366516" y="1979446"/>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LTER</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ATABA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COPED</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ONFIGURAT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BATCH_MODE_ADAPTIVE_JOINS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FF</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2" name="Content Placeholder 3">
            <a:extLst>
              <a:ext uri="{FF2B5EF4-FFF2-40B4-BE49-F238E27FC236}">
                <a16:creationId xmlns:a16="http://schemas.microsoft.com/office/drawing/2014/main" id="{5302B98C-991B-4EC1-A910-70B6E4583027}"/>
              </a:ext>
            </a:extLst>
          </p:cNvPr>
          <p:cNvSpPr txBox="1">
            <a:spLocks/>
          </p:cNvSpPr>
          <p:nvPr/>
        </p:nvSpPr>
        <p:spPr>
          <a:xfrm>
            <a:off x="269239" y="912430"/>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Different settings for 2017 vs Azure SQL, SQL Server 2019 and higher</a:t>
            </a:r>
          </a:p>
        </p:txBody>
      </p:sp>
      <p:pic>
        <p:nvPicPr>
          <p:cNvPr id="6" name="Picture 5">
            <a:extLst>
              <a:ext uri="{FF2B5EF4-FFF2-40B4-BE49-F238E27FC236}">
                <a16:creationId xmlns:a16="http://schemas.microsoft.com/office/drawing/2014/main" id="{627D0D4B-C7C8-CE62-FC64-8607BAC99CF3}"/>
              </a:ext>
            </a:extLst>
          </p:cNvPr>
          <p:cNvPicPr>
            <a:picLocks noChangeAspect="1"/>
          </p:cNvPicPr>
          <p:nvPr/>
        </p:nvPicPr>
        <p:blipFill>
          <a:blip r:embed="rId3"/>
          <a:stretch>
            <a:fillRect/>
          </a:stretch>
        </p:blipFill>
        <p:spPr>
          <a:xfrm>
            <a:off x="3195863" y="3676840"/>
            <a:ext cx="5373501" cy="2544406"/>
          </a:xfrm>
          <a:prstGeom prst="rect">
            <a:avLst/>
          </a:prstGeom>
          <a:ln>
            <a:noFill/>
          </a:ln>
          <a:effectLst>
            <a:outerShdw blurRad="190500" algn="tl" rotWithShape="0">
              <a:srgbClr val="000000">
                <a:alpha val="70000"/>
              </a:srgbClr>
            </a:outerShdw>
          </a:effectLst>
        </p:spPr>
      </p:pic>
      <p:sp>
        <p:nvSpPr>
          <p:cNvPr id="7" name="Rectangle 6">
            <a:extLst>
              <a:ext uri="{FF2B5EF4-FFF2-40B4-BE49-F238E27FC236}">
                <a16:creationId xmlns:a16="http://schemas.microsoft.com/office/drawing/2014/main" id="{DF5126A6-AFD7-AACE-460C-1C13A2C03B35}"/>
              </a:ext>
            </a:extLst>
          </p:cNvPr>
          <p:cNvSpPr/>
          <p:nvPr/>
        </p:nvSpPr>
        <p:spPr>
          <a:xfrm>
            <a:off x="366516" y="3030287"/>
            <a:ext cx="10880725" cy="461665"/>
          </a:xfrm>
          <a:prstGeom prst="rect">
            <a:avLst/>
          </a:prstGeom>
          <a:ln>
            <a:solidFill>
              <a:schemeClr val="accent1"/>
            </a:solidFill>
          </a:ln>
          <a:effectLst/>
        </p:spPr>
        <p:txBody>
          <a:bodyPr wrap="square">
            <a:noAutofit/>
          </a:bodyPr>
          <a:lstStyle/>
          <a:p>
            <a:pPr>
              <a:defRPr/>
            </a:pPr>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chemeClr val="accent6">
                    <a:lumMod val="50000"/>
                  </a:schemeClr>
                </a:solidFill>
                <a:latin typeface="Consolas" panose="020B0609020204030204" pitchFamily="49" charset="0"/>
              </a:rPr>
              <a:t>sys.database_scoped_configuration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8" name="Content Placeholder 3">
            <a:extLst>
              <a:ext uri="{FF2B5EF4-FFF2-40B4-BE49-F238E27FC236}">
                <a16:creationId xmlns:a16="http://schemas.microsoft.com/office/drawing/2014/main" id="{3A58E64D-6028-810B-C559-6CD5A5A43E1C}"/>
              </a:ext>
            </a:extLst>
          </p:cNvPr>
          <p:cNvSpPr txBox="1">
            <a:spLocks/>
          </p:cNvSpPr>
          <p:nvPr/>
        </p:nvSpPr>
        <p:spPr>
          <a:xfrm>
            <a:off x="320478" y="2528586"/>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To get a list of Database Scoped Configuration settings</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230351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1824150" cy="1143000"/>
          </a:xfrm>
        </p:spPr>
        <p:txBody>
          <a:bodyPr/>
          <a:lstStyle/>
          <a:p>
            <a:r>
              <a:rPr lang="en-US" dirty="0"/>
              <a:t>Enabling and Disabling – Statement Level</a:t>
            </a:r>
          </a:p>
        </p:txBody>
      </p:sp>
      <p:sp>
        <p:nvSpPr>
          <p:cNvPr id="10" name="Rectangle 9">
            <a:extLst>
              <a:ext uri="{FF2B5EF4-FFF2-40B4-BE49-F238E27FC236}">
                <a16:creationId xmlns:a16="http://schemas.microsoft.com/office/drawing/2014/main" id="{0665CE9E-5D61-45F3-9D4E-8F9C03FF9346}"/>
              </a:ext>
            </a:extLst>
          </p:cNvPr>
          <p:cNvSpPr/>
          <p:nvPr/>
        </p:nvSpPr>
        <p:spPr>
          <a:xfrm>
            <a:off x="384444" y="1423989"/>
            <a:ext cx="10880725" cy="696189"/>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lt;statemen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PTION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U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HINT</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DISABLE_BATCH_MODE_ADAPTIVE_JOIN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6" name="Content Placeholder 3">
            <a:extLst>
              <a:ext uri="{FF2B5EF4-FFF2-40B4-BE49-F238E27FC236}">
                <a16:creationId xmlns:a16="http://schemas.microsoft.com/office/drawing/2014/main" id="{8F0F5418-94D3-40D4-AF8D-94BC66BE8CE6}"/>
              </a:ext>
            </a:extLst>
          </p:cNvPr>
          <p:cNvSpPr txBox="1">
            <a:spLocks/>
          </p:cNvSpPr>
          <p:nvPr/>
        </p:nvSpPr>
        <p:spPr>
          <a:xfrm>
            <a:off x="384444" y="962323"/>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You can disable </a:t>
            </a:r>
            <a:r>
              <a:rPr lang="en-US" dirty="0">
                <a:latin typeface="Segoe UI"/>
              </a:rPr>
              <a:t>features</a:t>
            </a:r>
            <a:r>
              <a:rPr kumimoji="0" lang="en-US" sz="2400" b="0" i="0" u="none" strike="noStrike" kern="1200" cap="none" spc="0" normalizeH="0" baseline="0" noProof="0" dirty="0">
                <a:ln>
                  <a:noFill/>
                </a:ln>
                <a:solidFill>
                  <a:srgbClr val="404040"/>
                </a:solidFill>
                <a:effectLst/>
                <a:uLnTx/>
                <a:uFillTx/>
                <a:latin typeface="Segoe UI"/>
                <a:ea typeface="+mn-ea"/>
                <a:cs typeface="+mn-cs"/>
              </a:rPr>
              <a:t> at the statement scope if necessary.</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4DC5D965-CC3D-FF89-C92A-D96C4523B10D}"/>
              </a:ext>
            </a:extLst>
          </p:cNvPr>
          <p:cNvSpPr/>
          <p:nvPr/>
        </p:nvSpPr>
        <p:spPr>
          <a:xfrm>
            <a:off x="338408" y="2772846"/>
            <a:ext cx="10880725" cy="461665"/>
          </a:xfrm>
          <a:prstGeom prst="rect">
            <a:avLst/>
          </a:prstGeom>
          <a:ln>
            <a:solidFill>
              <a:schemeClr val="accent1"/>
            </a:solidFill>
          </a:ln>
          <a:effectLst/>
        </p:spPr>
        <p:txBody>
          <a:bodyPr wrap="square">
            <a:noAutofit/>
          </a:bodyPr>
          <a:lstStyle/>
          <a:p>
            <a:pPr>
              <a:defRPr/>
            </a:pPr>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chemeClr val="accent6">
                    <a:lumMod val="50000"/>
                  </a:schemeClr>
                </a:solidFill>
                <a:latin typeface="Consolas" panose="020B0609020204030204" pitchFamily="49" charset="0"/>
              </a:rPr>
              <a:t>sys.dm_exec_valid_use_hint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3" name="Content Placeholder 3">
            <a:extLst>
              <a:ext uri="{FF2B5EF4-FFF2-40B4-BE49-F238E27FC236}">
                <a16:creationId xmlns:a16="http://schemas.microsoft.com/office/drawing/2014/main" id="{4FABCB0E-57A1-B0FC-D699-B56FEFB762BB}"/>
              </a:ext>
            </a:extLst>
          </p:cNvPr>
          <p:cNvSpPr txBox="1">
            <a:spLocks/>
          </p:cNvSpPr>
          <p:nvPr/>
        </p:nvSpPr>
        <p:spPr>
          <a:xfrm>
            <a:off x="292370" y="2271145"/>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To get a list of valid query use hints</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pic>
        <p:nvPicPr>
          <p:cNvPr id="7" name="Picture 6" descr="Text&#10;&#10;Description automatically generated">
            <a:extLst>
              <a:ext uri="{FF2B5EF4-FFF2-40B4-BE49-F238E27FC236}">
                <a16:creationId xmlns:a16="http://schemas.microsoft.com/office/drawing/2014/main" id="{2C1CF975-373F-F8BB-BE11-E76F338FF1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43660" y="3429000"/>
            <a:ext cx="5104680" cy="295387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161697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Intelligent Query Processing</a:t>
            </a:r>
          </a:p>
        </p:txBody>
      </p:sp>
      <p:graphicFrame>
        <p:nvGraphicFramePr>
          <p:cNvPr id="2" name="Diagram 1">
            <a:extLst>
              <a:ext uri="{FF2B5EF4-FFF2-40B4-BE49-F238E27FC236}">
                <a16:creationId xmlns:a16="http://schemas.microsoft.com/office/drawing/2014/main" id="{BB258EE7-9952-4097-AD9B-A979F3BE55CF}"/>
              </a:ext>
            </a:extLst>
          </p:cNvPr>
          <p:cNvGraphicFramePr/>
          <p:nvPr>
            <p:extLst>
              <p:ext uri="{D42A27DB-BD31-4B8C-83A1-F6EECF244321}">
                <p14:modId xmlns:p14="http://schemas.microsoft.com/office/powerpoint/2010/main" val="1815734572"/>
              </p:ext>
            </p:extLst>
          </p:nvPr>
        </p:nvGraphicFramePr>
        <p:xfrm>
          <a:off x="134619" y="80682"/>
          <a:ext cx="11922762" cy="67773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Rounded Corners 3">
            <a:extLst>
              <a:ext uri="{FF2B5EF4-FFF2-40B4-BE49-F238E27FC236}">
                <a16:creationId xmlns:a16="http://schemas.microsoft.com/office/drawing/2014/main" id="{5C33F813-B821-8738-1C54-C07BA8626E20}"/>
              </a:ext>
            </a:extLst>
          </p:cNvPr>
          <p:cNvSpPr/>
          <p:nvPr/>
        </p:nvSpPr>
        <p:spPr>
          <a:xfrm>
            <a:off x="7331488" y="5885236"/>
            <a:ext cx="1412842" cy="479426"/>
          </a:xfrm>
          <a:prstGeom prst="roundRect">
            <a:avLst/>
          </a:prstGeom>
          <a:solidFill>
            <a:schemeClr val="accent4">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bg1"/>
              </a:solidFill>
            </a:endParaRPr>
          </a:p>
        </p:txBody>
      </p:sp>
      <p:sp>
        <p:nvSpPr>
          <p:cNvPr id="8" name="TextBox 7">
            <a:extLst>
              <a:ext uri="{FF2B5EF4-FFF2-40B4-BE49-F238E27FC236}">
                <a16:creationId xmlns:a16="http://schemas.microsoft.com/office/drawing/2014/main" id="{940BFE80-5C81-5812-6DB5-0A2B660092C2}"/>
              </a:ext>
            </a:extLst>
          </p:cNvPr>
          <p:cNvSpPr txBox="1"/>
          <p:nvPr/>
        </p:nvSpPr>
        <p:spPr>
          <a:xfrm>
            <a:off x="7166690" y="5944622"/>
            <a:ext cx="1742438" cy="369332"/>
          </a:xfrm>
          <a:prstGeom prst="rect">
            <a:avLst/>
          </a:prstGeom>
          <a:noFill/>
        </p:spPr>
        <p:txBody>
          <a:bodyPr wrap="square" rtlCol="0">
            <a:spAutoFit/>
          </a:bodyPr>
          <a:lstStyle/>
          <a:p>
            <a:pPr algn="ctr"/>
            <a:r>
              <a:rPr lang="en-US" dirty="0">
                <a:solidFill>
                  <a:schemeClr val="bg1"/>
                </a:solidFill>
              </a:rPr>
              <a:t>2017</a:t>
            </a:r>
          </a:p>
        </p:txBody>
      </p:sp>
      <p:sp>
        <p:nvSpPr>
          <p:cNvPr id="20" name="TextBox 19">
            <a:extLst>
              <a:ext uri="{FF2B5EF4-FFF2-40B4-BE49-F238E27FC236}">
                <a16:creationId xmlns:a16="http://schemas.microsoft.com/office/drawing/2014/main" id="{79A62EE3-7277-280C-19FA-2D48486A2094}"/>
              </a:ext>
            </a:extLst>
          </p:cNvPr>
          <p:cNvSpPr txBox="1"/>
          <p:nvPr/>
        </p:nvSpPr>
        <p:spPr>
          <a:xfrm>
            <a:off x="8568768" y="5221662"/>
            <a:ext cx="2409825" cy="493980"/>
          </a:xfrm>
          <a:prstGeom prst="rect">
            <a:avLst/>
          </a:prstGeom>
          <a:noFill/>
        </p:spPr>
        <p:txBody>
          <a:bodyPr wrap="square" rtlCol="0">
            <a:spAutoFit/>
          </a:bodyPr>
          <a:lstStyle/>
          <a:p>
            <a:endParaRPr lang="en-US" dirty="0"/>
          </a:p>
        </p:txBody>
      </p:sp>
      <p:sp>
        <p:nvSpPr>
          <p:cNvPr id="22" name="Rectangle: Rounded Corners 21">
            <a:extLst>
              <a:ext uri="{FF2B5EF4-FFF2-40B4-BE49-F238E27FC236}">
                <a16:creationId xmlns:a16="http://schemas.microsoft.com/office/drawing/2014/main" id="{6FAD4932-B5EA-DA60-B3A9-69292F5B14AD}"/>
              </a:ext>
            </a:extLst>
          </p:cNvPr>
          <p:cNvSpPr/>
          <p:nvPr/>
        </p:nvSpPr>
        <p:spPr>
          <a:xfrm>
            <a:off x="7331488" y="5341409"/>
            <a:ext cx="4507272"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solidFill>
                  <a:schemeClr val="tx1"/>
                </a:solidFill>
              </a:rPr>
              <a:t>Azure SQL Database</a:t>
            </a:r>
          </a:p>
        </p:txBody>
      </p:sp>
      <p:sp>
        <p:nvSpPr>
          <p:cNvPr id="26" name="Rectangle: Rounded Corners 25">
            <a:extLst>
              <a:ext uri="{FF2B5EF4-FFF2-40B4-BE49-F238E27FC236}">
                <a16:creationId xmlns:a16="http://schemas.microsoft.com/office/drawing/2014/main" id="{2F65726C-97E2-ABE3-B671-36903AD16D02}"/>
              </a:ext>
            </a:extLst>
          </p:cNvPr>
          <p:cNvSpPr/>
          <p:nvPr/>
        </p:nvSpPr>
        <p:spPr>
          <a:xfrm>
            <a:off x="8866132" y="5885236"/>
            <a:ext cx="1412842" cy="479426"/>
          </a:xfrm>
          <a:prstGeom prst="roundRect">
            <a:avLst/>
          </a:prstGeom>
          <a:solidFill>
            <a:schemeClr val="accent6">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bg1"/>
              </a:solidFill>
            </a:endParaRPr>
          </a:p>
        </p:txBody>
      </p:sp>
      <p:sp>
        <p:nvSpPr>
          <p:cNvPr id="10" name="TextBox 9">
            <a:extLst>
              <a:ext uri="{FF2B5EF4-FFF2-40B4-BE49-F238E27FC236}">
                <a16:creationId xmlns:a16="http://schemas.microsoft.com/office/drawing/2014/main" id="{77088EEC-C3A9-CE29-025D-FEBDD1FF820A}"/>
              </a:ext>
            </a:extLst>
          </p:cNvPr>
          <p:cNvSpPr txBox="1"/>
          <p:nvPr/>
        </p:nvSpPr>
        <p:spPr>
          <a:xfrm>
            <a:off x="8701334" y="5943913"/>
            <a:ext cx="1742438" cy="369332"/>
          </a:xfrm>
          <a:prstGeom prst="rect">
            <a:avLst/>
          </a:prstGeom>
          <a:noFill/>
        </p:spPr>
        <p:txBody>
          <a:bodyPr wrap="square" rtlCol="0">
            <a:spAutoFit/>
          </a:bodyPr>
          <a:lstStyle/>
          <a:p>
            <a:pPr algn="ctr"/>
            <a:r>
              <a:rPr lang="en-US" dirty="0">
                <a:solidFill>
                  <a:schemeClr val="bg1"/>
                </a:solidFill>
              </a:rPr>
              <a:t>2019</a:t>
            </a:r>
          </a:p>
        </p:txBody>
      </p:sp>
      <p:sp>
        <p:nvSpPr>
          <p:cNvPr id="28" name="Rectangle: Rounded Corners 27">
            <a:extLst>
              <a:ext uri="{FF2B5EF4-FFF2-40B4-BE49-F238E27FC236}">
                <a16:creationId xmlns:a16="http://schemas.microsoft.com/office/drawing/2014/main" id="{DF4E77BC-28EC-7AE1-C49E-789136D0D657}"/>
              </a:ext>
            </a:extLst>
          </p:cNvPr>
          <p:cNvSpPr/>
          <p:nvPr/>
        </p:nvSpPr>
        <p:spPr>
          <a:xfrm>
            <a:off x="10425918" y="5885236"/>
            <a:ext cx="1412842" cy="479426"/>
          </a:xfrm>
          <a:prstGeom prst="roundRect">
            <a:avLst/>
          </a:prstGeom>
          <a:solidFill>
            <a:schemeClr val="tx2">
              <a:lumMod val="60000"/>
              <a:lumOff val="4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bg1"/>
              </a:solidFill>
            </a:endParaRPr>
          </a:p>
        </p:txBody>
      </p:sp>
      <p:sp>
        <p:nvSpPr>
          <p:cNvPr id="30" name="TextBox 29">
            <a:extLst>
              <a:ext uri="{FF2B5EF4-FFF2-40B4-BE49-F238E27FC236}">
                <a16:creationId xmlns:a16="http://schemas.microsoft.com/office/drawing/2014/main" id="{843B6F55-A55E-0234-5628-BF891AB2A877}"/>
              </a:ext>
            </a:extLst>
          </p:cNvPr>
          <p:cNvSpPr txBox="1"/>
          <p:nvPr/>
        </p:nvSpPr>
        <p:spPr>
          <a:xfrm>
            <a:off x="10263919" y="5934553"/>
            <a:ext cx="1742438" cy="369332"/>
          </a:xfrm>
          <a:prstGeom prst="rect">
            <a:avLst/>
          </a:prstGeom>
          <a:noFill/>
        </p:spPr>
        <p:txBody>
          <a:bodyPr wrap="square" rtlCol="0">
            <a:spAutoFit/>
          </a:bodyPr>
          <a:lstStyle/>
          <a:p>
            <a:pPr algn="ctr"/>
            <a:r>
              <a:rPr lang="en-US" dirty="0">
                <a:solidFill>
                  <a:schemeClr val="bg1"/>
                </a:solidFill>
              </a:rPr>
              <a:t>2022</a:t>
            </a:r>
          </a:p>
        </p:txBody>
      </p:sp>
    </p:spTree>
    <p:extLst>
      <p:ext uri="{BB962C8B-B14F-4D97-AF65-F5344CB8AC3E}">
        <p14:creationId xmlns:p14="http://schemas.microsoft.com/office/powerpoint/2010/main" val="20160301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7" y="174885"/>
            <a:ext cx="11539223" cy="1143000"/>
          </a:xfrm>
        </p:spPr>
        <p:txBody>
          <a:bodyPr/>
          <a:lstStyle/>
          <a:p>
            <a:r>
              <a:rPr lang="en-US" dirty="0"/>
              <a:t>Parameter Sensitive Plan Optimization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extLst>
              <p:ext uri="{D42A27DB-BD31-4B8C-83A1-F6EECF244321}">
                <p14:modId xmlns:p14="http://schemas.microsoft.com/office/powerpoint/2010/main" val="2043811579"/>
              </p:ext>
            </p:extLst>
          </p:nvPr>
        </p:nvGraphicFramePr>
        <p:xfrm>
          <a:off x="134619" y="838200"/>
          <a:ext cx="11673842"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Rounded Corners 5">
            <a:extLst>
              <a:ext uri="{FF2B5EF4-FFF2-40B4-BE49-F238E27FC236}">
                <a16:creationId xmlns:a16="http://schemas.microsoft.com/office/drawing/2014/main" id="{F52BB2AC-E1A5-04D5-C378-D35B5611729C}"/>
              </a:ext>
            </a:extLst>
          </p:cNvPr>
          <p:cNvSpPr/>
          <p:nvPr/>
        </p:nvSpPr>
        <p:spPr>
          <a:xfrm>
            <a:off x="10087583" y="2859813"/>
            <a:ext cx="1867711" cy="1361681"/>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343838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3.xml><?xml version="1.0" encoding="utf-8"?>
<a:theme xmlns:a="http://schemas.openxmlformats.org/drawingml/2006/main" name="1_Dark Blue">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4.xml><?xml version="1.0" encoding="utf-8"?>
<a:theme xmlns:a="http://schemas.openxmlformats.org/drawingml/2006/main" name="1_Microsoft 365 PPT Template - 2018">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5.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2336</Words>
  <Application>Microsoft Office PowerPoint</Application>
  <PresentationFormat>Widescreen</PresentationFormat>
  <Paragraphs>259</Paragraphs>
  <Slides>21</Slides>
  <Notes>18</Notes>
  <HiddenSlides>0</HiddenSlides>
  <MMClips>0</MMClips>
  <ScaleCrop>false</ScaleCrop>
  <HeadingPairs>
    <vt:vector size="6" baseType="variant">
      <vt:variant>
        <vt:lpstr>Fonts Used</vt:lpstr>
      </vt:variant>
      <vt:variant>
        <vt:i4>10</vt:i4>
      </vt:variant>
      <vt:variant>
        <vt:lpstr>Theme</vt:lpstr>
      </vt:variant>
      <vt:variant>
        <vt:i4>5</vt:i4>
      </vt:variant>
      <vt:variant>
        <vt:lpstr>Slide Titles</vt:lpstr>
      </vt:variant>
      <vt:variant>
        <vt:i4>21</vt:i4>
      </vt:variant>
    </vt:vector>
  </HeadingPairs>
  <TitlesOfParts>
    <vt:vector size="36" baseType="lpstr">
      <vt:lpstr>-apple-system</vt:lpstr>
      <vt:lpstr>Arial</vt:lpstr>
      <vt:lpstr>Calibri</vt:lpstr>
      <vt:lpstr>Century Gothic</vt:lpstr>
      <vt:lpstr>Consolas</vt:lpstr>
      <vt:lpstr>Lucida Console</vt:lpstr>
      <vt:lpstr>Segoe UI</vt:lpstr>
      <vt:lpstr>Segoe UI Semibold</vt:lpstr>
      <vt:lpstr>Segoe UI Semilight</vt:lpstr>
      <vt:lpstr>Wingdings</vt:lpstr>
      <vt:lpstr>PASS 2013_SpeakerTemplate_Final</vt:lpstr>
      <vt:lpstr>Microsoft 365 PPT Template - 2018</vt:lpstr>
      <vt:lpstr>1_Dark Blue</vt:lpstr>
      <vt:lpstr>1_Microsoft 365 PPT Template - 2018</vt:lpstr>
      <vt:lpstr>5-50203_Microsoft_Ignite_Template</vt:lpstr>
      <vt:lpstr>Parameter Sensitive Plan Optimization in SQL Server 2022 </vt:lpstr>
      <vt:lpstr>PowerPoint Presentation</vt:lpstr>
      <vt:lpstr>What is in the session?</vt:lpstr>
      <vt:lpstr>Intelligent Query Processing (2022)</vt:lpstr>
      <vt:lpstr>Enabling and Disabling – Instance Level</vt:lpstr>
      <vt:lpstr>Enabling and Disabling – Database Level</vt:lpstr>
      <vt:lpstr>Enabling and Disabling – Statement Level</vt:lpstr>
      <vt:lpstr>Intelligent Query Processing</vt:lpstr>
      <vt:lpstr>Parameter Sensitive Plan Optimization (2022)</vt:lpstr>
      <vt:lpstr>Parameter Sensitive Plans (2022)</vt:lpstr>
      <vt:lpstr>PSP today (Example of Real Estate agent's portfolio)</vt:lpstr>
      <vt:lpstr>PSP today (Example of Real Estate agent's portfolio)</vt:lpstr>
      <vt:lpstr>PSP Optimization (2022)</vt:lpstr>
      <vt:lpstr>PSP Predicate Selection (2022)</vt:lpstr>
      <vt:lpstr>Boundary Value Selection (Dispatcher Plan)</vt:lpstr>
      <vt:lpstr>Dispatcher Plan in XML</vt:lpstr>
      <vt:lpstr>Monitor with Extended Events</vt:lpstr>
      <vt:lpstr>Intelligent Query Processing Feature Family</vt:lpstr>
      <vt:lpstr>PowerPoint Presentation</vt:lpstr>
      <vt:lpstr>Learn mor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11T16:55:49Z</dcterms:created>
  <dcterms:modified xsi:type="dcterms:W3CDTF">2022-07-26T13:56: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deardu@microsoft.com</vt:lpwstr>
  </property>
  <property fmtid="{D5CDD505-2E9C-101B-9397-08002B2CF9AE}" pid="5" name="MSIP_Label_f42aa342-8706-4288-bd11-ebb85995028c_SetDate">
    <vt:lpwstr>2020-02-11T16:56:45.521160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931351b-bec9-4cd7-b8b6-a88d83d3126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